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0" r:id="rId4"/>
  </p:sldMasterIdLst>
  <p:notesMasterIdLst>
    <p:notesMasterId r:id="rId14"/>
  </p:notesMasterIdLst>
  <p:sldIdLst>
    <p:sldId id="4149" r:id="rId5"/>
    <p:sldId id="4085" r:id="rId6"/>
    <p:sldId id="4129" r:id="rId7"/>
    <p:sldId id="4150" r:id="rId8"/>
    <p:sldId id="4152" r:id="rId9"/>
    <p:sldId id="4153" r:id="rId10"/>
    <p:sldId id="4151" r:id="rId11"/>
    <p:sldId id="4155" r:id="rId12"/>
    <p:sldId id="4143" r:id="rId13"/>
  </p:sldIdLst>
  <p:sldSz cx="12192000" cy="6858000"/>
  <p:notesSz cx="6797675" cy="992822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tion 1" id="{88D164A0-53EC-438E-88E1-18910ACECC2B}">
          <p14:sldIdLst>
            <p14:sldId id="4149"/>
            <p14:sldId id="4085"/>
            <p14:sldId id="4129"/>
            <p14:sldId id="4150"/>
            <p14:sldId id="4152"/>
            <p14:sldId id="4153"/>
            <p14:sldId id="4151"/>
            <p14:sldId id="4155"/>
            <p14:sldId id="41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4B"/>
    <a:srgbClr val="F2A248"/>
    <a:srgbClr val="FFFFFF"/>
    <a:srgbClr val="F0F0F0"/>
    <a:srgbClr val="999999"/>
    <a:srgbClr val="FF0064"/>
    <a:srgbClr val="FFAA00"/>
    <a:srgbClr val="00E6BE"/>
    <a:srgbClr val="F2F2F2"/>
    <a:srgbClr val="FCFC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43AF1B-549D-45D8-8762-E87471287860}" v="1509" dt="2024-02-23T09:58:18.357"/>
    <p1510:client id="{422FAE9A-8263-4FBF-96E8-1C6A0AF39744}" v="151" vWet="152" dt="2024-02-22T20:20:17.681"/>
    <p1510:client id="{4BD63CD4-4622-C2CC-0A64-B0770F4F12CB}" v="75" dt="2024-02-23T07:27:14.1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033" autoAdjust="0"/>
  </p:normalViewPr>
  <p:slideViewPr>
    <p:cSldViewPr snapToGrid="0">
      <p:cViewPr varScale="1">
        <p:scale>
          <a:sx n="78" d="100"/>
          <a:sy n="78" d="100"/>
        </p:scale>
        <p:origin x="1258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21FBCD-93E7-452F-BC8C-834137A9920C}" type="datetimeFigureOut">
              <a:rPr lang="en-US" smtClean="0"/>
              <a:t>2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D9552B-4FF5-4869-9742-DEC74430A5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324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89F69-15A0-4912-C003-E39B0B5D0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EBA4E8-5D5A-D01F-7DC7-DD449F1E20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95E457-918A-4AB7-92A0-4C3D3915D0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9E86F2-46DF-4AAE-D95E-BBCB1A0A6B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4818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62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602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9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E487DD0-7824-AF3E-CF2A-DDABAD7DF3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15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E487DD0-7824-AF3E-CF2A-DDABAD7DF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155816-EB3A-42CC-8EB6-2116CB7A6FE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04800" y="2461468"/>
            <a:ext cx="7074851" cy="1106424"/>
          </a:xfrm>
        </p:spPr>
        <p:txBody>
          <a:bodyPr vert="horz" anchor="b" anchorCtr="0"/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2F373204-6884-3E27-EAE4-0D139992E9C3}"/>
              </a:ext>
            </a:extLst>
          </p:cNvPr>
          <p:cNvSpPr/>
          <p:nvPr userDrawn="1"/>
        </p:nvSpPr>
        <p:spPr>
          <a:xfrm rot="10800000">
            <a:off x="9965664" y="2315832"/>
            <a:ext cx="2226335" cy="2226337"/>
          </a:xfrm>
          <a:custGeom>
            <a:avLst/>
            <a:gdLst>
              <a:gd name="connsiteX0" fmla="*/ 3217558 w 3217558"/>
              <a:gd name="connsiteY0" fmla="*/ 3 h 3217561"/>
              <a:gd name="connsiteX1" fmla="*/ 3217558 w 3217558"/>
              <a:gd name="connsiteY1" fmla="*/ 1608781 h 3217561"/>
              <a:gd name="connsiteX2" fmla="*/ 1608779 w 3217558"/>
              <a:gd name="connsiteY2" fmla="*/ 3217561 h 3217561"/>
              <a:gd name="connsiteX3" fmla="*/ 1608739 w 3217558"/>
              <a:gd name="connsiteY3" fmla="*/ 3217559 h 3217561"/>
              <a:gd name="connsiteX4" fmla="*/ 0 w 3217558"/>
              <a:gd name="connsiteY4" fmla="*/ 3217559 h 3217561"/>
              <a:gd name="connsiteX5" fmla="*/ 0 w 3217558"/>
              <a:gd name="connsiteY5" fmla="*/ 1608781 h 3217561"/>
              <a:gd name="connsiteX6" fmla="*/ 8306 w 3217558"/>
              <a:gd name="connsiteY6" fmla="*/ 1444293 h 3217561"/>
              <a:gd name="connsiteX7" fmla="*/ 1608779 w 3217558"/>
              <a:gd name="connsiteY7" fmla="*/ 0 h 3217561"/>
              <a:gd name="connsiteX8" fmla="*/ 1608818 w 3217558"/>
              <a:gd name="connsiteY8" fmla="*/ 3 h 3217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17558" h="3217561">
                <a:moveTo>
                  <a:pt x="3217558" y="3"/>
                </a:moveTo>
                <a:lnTo>
                  <a:pt x="3217558" y="1608781"/>
                </a:lnTo>
                <a:cubicBezTo>
                  <a:pt x="3217558" y="2497285"/>
                  <a:pt x="2497283" y="3217561"/>
                  <a:pt x="1608779" y="3217561"/>
                </a:cubicBezTo>
                <a:lnTo>
                  <a:pt x="1608739" y="3217559"/>
                </a:lnTo>
                <a:lnTo>
                  <a:pt x="0" y="3217559"/>
                </a:lnTo>
                <a:lnTo>
                  <a:pt x="0" y="1608781"/>
                </a:lnTo>
                <a:cubicBezTo>
                  <a:pt x="0" y="1553250"/>
                  <a:pt x="2813" y="1498375"/>
                  <a:pt x="8306" y="1444293"/>
                </a:cubicBezTo>
                <a:cubicBezTo>
                  <a:pt x="90691" y="633056"/>
                  <a:pt x="775807" y="0"/>
                  <a:pt x="1608779" y="0"/>
                </a:cubicBezTo>
                <a:lnTo>
                  <a:pt x="1608818" y="3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1F0510-29DA-413B-BAC3-98B769B38B6B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04800" y="3686775"/>
            <a:ext cx="7074851" cy="891791"/>
          </a:xfr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14A7BA4D-E942-D58B-28B9-B19D5B7CD348}"/>
              </a:ext>
            </a:extLst>
          </p:cNvPr>
          <p:cNvSpPr/>
          <p:nvPr userDrawn="1"/>
        </p:nvSpPr>
        <p:spPr>
          <a:xfrm rot="16200000">
            <a:off x="9965664" y="1237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17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401BF5AF-F200-4E1E-01F8-ABE1DCAA6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713" y="-232912"/>
            <a:ext cx="2916551" cy="2066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Picture Placeholder 165">
            <a:extLst>
              <a:ext uri="{FF2B5EF4-FFF2-40B4-BE49-F238E27FC236}">
                <a16:creationId xmlns:a16="http://schemas.microsoft.com/office/drawing/2014/main" id="{8FF03B58-D9A4-C8B1-4D65-19489E921AA1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 flipH="1">
            <a:off x="7633191" y="2322588"/>
            <a:ext cx="2248774" cy="2219580"/>
          </a:xfrm>
          <a:custGeom>
            <a:avLst/>
            <a:gdLst>
              <a:gd name="connsiteX0" fmla="*/ 2248774 w 2248774"/>
              <a:gd name="connsiteY0" fmla="*/ 0 h 2219580"/>
              <a:gd name="connsiteX1" fmla="*/ 1124387 w 2248774"/>
              <a:gd name="connsiteY1" fmla="*/ 0 h 2219580"/>
              <a:gd name="connsiteX2" fmla="*/ 0 w 2248774"/>
              <a:gd name="connsiteY2" fmla="*/ 1109790 h 2219580"/>
              <a:gd name="connsiteX3" fmla="*/ 0 w 2248774"/>
              <a:gd name="connsiteY3" fmla="*/ 2219579 h 2219580"/>
              <a:gd name="connsiteX4" fmla="*/ 1124387 w 2248774"/>
              <a:gd name="connsiteY4" fmla="*/ 2219580 h 2219580"/>
              <a:gd name="connsiteX5" fmla="*/ 2248774 w 2248774"/>
              <a:gd name="connsiteY5" fmla="*/ 1109790 h 221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8774" h="2219580">
                <a:moveTo>
                  <a:pt x="2248774" y="0"/>
                </a:moveTo>
                <a:lnTo>
                  <a:pt x="1124387" y="0"/>
                </a:lnTo>
                <a:cubicBezTo>
                  <a:pt x="503405" y="0"/>
                  <a:pt x="0" y="496870"/>
                  <a:pt x="0" y="1109790"/>
                </a:cubicBezTo>
                <a:lnTo>
                  <a:pt x="0" y="2219579"/>
                </a:lnTo>
                <a:lnTo>
                  <a:pt x="1124387" y="2219580"/>
                </a:lnTo>
                <a:cubicBezTo>
                  <a:pt x="1745369" y="2219580"/>
                  <a:pt x="2248774" y="1722711"/>
                  <a:pt x="2248774" y="110979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AD620342-F0A5-C409-11E1-94DA9CE38D55}"/>
              </a:ext>
            </a:extLst>
          </p:cNvPr>
          <p:cNvSpPr/>
          <p:nvPr userDrawn="1"/>
        </p:nvSpPr>
        <p:spPr>
          <a:xfrm rot="16200000">
            <a:off x="9868607" y="2264032"/>
            <a:ext cx="154915" cy="154915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F57D2F5-CBF0-C617-4E12-958B3E9AFEBF}"/>
              </a:ext>
            </a:extLst>
          </p:cNvPr>
          <p:cNvGrpSpPr/>
          <p:nvPr userDrawn="1"/>
        </p:nvGrpSpPr>
        <p:grpSpPr>
          <a:xfrm>
            <a:off x="6907543" y="2343240"/>
            <a:ext cx="5302508" cy="4576394"/>
            <a:chOff x="6907543" y="2343240"/>
            <a:chExt cx="5302508" cy="4576394"/>
          </a:xfrm>
        </p:grpSpPr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C7462026-7BFE-8F9C-43C5-E873C713E5B0}"/>
                </a:ext>
              </a:extLst>
            </p:cNvPr>
            <p:cNvGrpSpPr/>
            <p:nvPr userDrawn="1"/>
          </p:nvGrpSpPr>
          <p:grpSpPr>
            <a:xfrm rot="16200000">
              <a:off x="7309329" y="2018912"/>
              <a:ext cx="4576394" cy="5225050"/>
              <a:chOff x="7560407" y="-650848"/>
              <a:chExt cx="4576394" cy="5225050"/>
            </a:xfrm>
          </p:grpSpPr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B2278932-22B3-E52A-7E5B-A04EC6F8FF2A}"/>
                  </a:ext>
                </a:extLst>
              </p:cNvPr>
              <p:cNvGrpSpPr/>
              <p:nvPr userDrawn="1"/>
            </p:nvGrpSpPr>
            <p:grpSpPr>
              <a:xfrm>
                <a:off x="7625817" y="2310219"/>
                <a:ext cx="4510984" cy="2263983"/>
                <a:chOff x="7638061" y="2322589"/>
                <a:chExt cx="4510984" cy="2263983"/>
              </a:xfrm>
              <a:noFill/>
            </p:grpSpPr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96C5D968-8459-8F12-5728-A93728F3C34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5400000" flipH="1">
                  <a:off x="7076725" y="3993713"/>
                  <a:ext cx="1122671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Arc 149">
                  <a:extLst>
                    <a:ext uri="{FF2B5EF4-FFF2-40B4-BE49-F238E27FC236}">
                      <a16:creationId xmlns:a16="http://schemas.microsoft.com/office/drawing/2014/main" id="{6450F2AB-33C0-B448-E0B4-21DF746DCA11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F6F3DBAF-64ED-A5F8-3E4F-C94A00A70E4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5400000">
                  <a:off x="10453312" y="626855"/>
                  <a:ext cx="0" cy="3391467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D41DA2BB-7E34-BC1B-6763-3CEB1F708661}"/>
                  </a:ext>
                </a:extLst>
              </p:cNvPr>
              <p:cNvGrpSpPr/>
              <p:nvPr userDrawn="1"/>
            </p:nvGrpSpPr>
            <p:grpSpPr>
              <a:xfrm rot="10800000">
                <a:off x="7560407" y="-650848"/>
                <a:ext cx="2313738" cy="5194822"/>
                <a:chOff x="7638061" y="2322589"/>
                <a:chExt cx="2313738" cy="5194822"/>
              </a:xfrm>
              <a:noFill/>
            </p:grpSpPr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ED6701F4-4910-FB77-A521-3143044906D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>
                  <a:off x="5595544" y="5474895"/>
                  <a:ext cx="4085033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Arc 144">
                  <a:extLst>
                    <a:ext uri="{FF2B5EF4-FFF2-40B4-BE49-F238E27FC236}">
                      <a16:creationId xmlns:a16="http://schemas.microsoft.com/office/drawing/2014/main" id="{069E3076-274F-B3E5-500B-7E9EBDED9E77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398D2154-04C5-B6B3-EA3D-FCDFC117DD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9354690" y="1725479"/>
                  <a:ext cx="0" cy="1194219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1F656542-9DED-6FBE-FB23-27182CF6EAE7}"/>
                </a:ext>
              </a:extLst>
            </p:cNvPr>
            <p:cNvSpPr/>
            <p:nvPr userDrawn="1"/>
          </p:nvSpPr>
          <p:spPr>
            <a:xfrm rot="16200000">
              <a:off x="6907543" y="4535342"/>
              <a:ext cx="154915" cy="1549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C59F3555-5B5E-758D-B0C7-5CA1D10710CE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0BC9710-E1E6-6F43-53BF-9BA293AD5AA9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6833B9F-C393-C27F-84E1-AD6885A4C1C7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6CD70D22-9639-CD21-82EA-22E258157D5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DE1DA5C7-1848-21E8-2DA3-A66BCDAD5BB7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9BA6815F-FC0D-6E27-FEE7-51F40A6FF8A6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F8A8C522-1FC0-5454-081E-638B0CE73CAB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E8BC63DD-AE53-0E03-FA8F-59BC0FB09CBA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ADC1C4CD-0C56-A0AB-093D-DCE4D1CA4364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BD25A2D-9762-971F-EA57-5C7112908467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5277A724-DC18-15B1-D641-1E37E2231A8A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C69C8915-D4D0-0987-7A2A-E19069B51C56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5FDEDDF-409F-9FC4-9DFA-EB4E9647F2CA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18814A72-2AC7-08C8-F735-78F8D890135D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7BDED4E8-1326-D6F7-7622-E3711E22DF9C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8ED8CCF-B88F-6845-C3CD-52A924E1B449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E1CC0B8C-3B2F-CB84-42EA-1205ED1BE018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3315E2F0-6A86-C3DF-8E4D-061B4800BE00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6C4BEA-9D1D-6CEA-533D-875CBD321591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4526299C-2C2D-0C68-15BE-76D98D28D3D1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33" name="Rectangle 5">
            <a:extLst>
              <a:ext uri="{FF2B5EF4-FFF2-40B4-BE49-F238E27FC236}">
                <a16:creationId xmlns:a16="http://schemas.microsoft.com/office/drawing/2014/main" id="{39B745EC-6475-CDE3-E5E8-BABC6E563C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34" name="Foliennummernplatzhalter 3">
            <a:extLst>
              <a:ext uri="{FF2B5EF4-FFF2-40B4-BE49-F238E27FC236}">
                <a16:creationId xmlns:a16="http://schemas.microsoft.com/office/drawing/2014/main" id="{71D4E7FC-5B34-6388-73A5-2B2CDC212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894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Blank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00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B328939-91F1-6440-096F-28583FF5DFC6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09B9072-E997-8141-5A23-4A380410AE5E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A52308E-063A-BF02-371E-3CA411E49540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055BA1E-A199-F231-88C9-88EC8FC98460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316F8E-46F4-8DBE-B766-EA761100079C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039B8FD-D132-5C18-D08B-8F5F81372395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E12FCE-5E69-7E2A-E35F-BC58B0B477A0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501FCF3-E187-3C02-EB11-C01170B87EE2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FB7A069-3C22-6EEF-A6B8-6D3B5D3A33DA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CED0FEE-747C-E659-7B19-7B85EE2CFE9D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70B63BD-8617-2B2B-63C7-C23939A1D4C1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D69B7A3-3E0C-8F22-1C91-000149701C44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129580-8BD7-1002-C743-922D19889346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8FE95A-06FF-EDE0-24FA-B6EEB2E6EA2C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933B5F-BEE9-C41C-8342-6B61788ED4E7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C8822E-2355-7676-D8D7-48B85241FB90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0F09F46-B5AF-8B00-0BB9-A9D4D299E681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89F6BF9-A5A3-F18C-EF74-AA7C83BE81AA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F98C0F8-0A76-7F28-6632-32250067AC6C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9D29BA7-D867-1395-E65A-58EDBE2B386B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10BCA80-D821-799C-9116-DD4F4D396771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8CF7C9-B5C1-5EBC-5141-9BAE6F0C25BB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A5209B1-59AF-4312-B7E1-F4ECC617C5D2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6D5BFDF-796E-2185-2725-D7501597FFEF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5DC5866-8DF3-ED4B-02F3-8A6DC5F72F32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6816B4A-9C8F-AB72-7D3D-F7ED1F13A621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2550797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11588400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1FCEE9DA-A700-710D-67F3-B461A76FAE3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6614" y="1498210"/>
            <a:ext cx="11588400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606273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55626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D6444254-BD1A-2B96-DF6D-3CCD0E0AE0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37046"/>
            <a:ext cx="55626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717D85FB-E949-9F48-AC61-E6747123260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483696"/>
            <a:ext cx="5560786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3E80F40-3852-6136-632A-F1EDD26205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483696"/>
            <a:ext cx="5560786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297950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8DD0E1C2-D6F1-FD65-A29C-A54A75C39D1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125538"/>
            <a:ext cx="5560786" cy="5044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4ACB2-966D-2615-B29D-FCCE6C627DD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125538"/>
            <a:ext cx="5560786" cy="5044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7668144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0AAE6EA-3529-712C-28E1-FA69D9B2779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C3201FA-6BC8-A707-BD84-487DA1CA28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9E5870-85C7-8B9B-2AD9-6D57CC5F9990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6B618F0-E73C-8DDB-A01B-A9A1A689CF0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BBC180-4C7F-C795-ECDB-5351959B62E7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84AE5B3-DB96-FB43-3069-10342A377DB6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9EC431-4281-D797-F164-648FA0DEDA3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061D93-2787-3100-394C-4E073F83F43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6D0B125-509C-6D08-7DA5-E75CC1CCCAD0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5C9367-CE92-4AF0-F2C3-97A8B64D2F86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4A5448-C53C-1FC5-FEB9-6805ECC0FEF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727884E-92BE-C41C-0F33-06CABFCDC456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6BDE9C-3AA0-730E-A4C2-5101D89FD4E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3E7CF39-3F16-69A8-03CE-CFF435C05DE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116CCC2-94A4-109D-68D7-3FDEAE7A9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676400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FDFBF4A-7428-4C70-530C-5AAF83BAEE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3754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626EEDA6-DB25-F68D-6C9E-67F47B251E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35711" y="1682698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F195B2F-A4CD-F505-9F7B-1CEDB2F0DF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40052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0773028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0AAE6EA-3529-712C-28E1-FA69D9B2779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C3201FA-6BC8-A707-BD84-487DA1CA28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9E5870-85C7-8B9B-2AD9-6D57CC5F9990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6B618F0-E73C-8DDB-A01B-A9A1A689CF0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BBC180-4C7F-C795-ECDB-5351959B62E7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84AE5B3-DB96-FB43-3069-10342A377DB6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9EC431-4281-D797-F164-648FA0DEDA3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061D93-2787-3100-394C-4E073F83F43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6D0B125-509C-6D08-7DA5-E75CC1CCCAD0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45C9367-CE92-4AF0-F2C3-97A8B64D2F86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4A5448-C53C-1FC5-FEB9-6805ECC0FEF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727884E-92BE-C41C-0F33-06CABFCDC456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6BDE9C-3AA0-730E-A4C2-5101D89FD4E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3E7CF39-3F16-69A8-03CE-CFF435C05DE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116CCC2-94A4-109D-68D7-3FDEAE7A95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676400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FDFBF4A-7428-4C70-530C-5AAF83BAEE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3754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626EEDA6-DB25-F68D-6C9E-67F47B251E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35711" y="1682698"/>
            <a:ext cx="5562602" cy="4493899"/>
          </a:xfrm>
          <a:prstGeom prst="round2SameRect">
            <a:avLst>
              <a:gd name="adj1" fmla="val 0"/>
              <a:gd name="adj2" fmla="val 6368"/>
            </a:avLst>
          </a:prstGeom>
          <a:gradFill>
            <a:gsLst>
              <a:gs pos="100000">
                <a:schemeClr val="accent6">
                  <a:lumMod val="20000"/>
                  <a:lumOff val="80000"/>
                  <a:alpha val="39000"/>
                </a:schemeClr>
              </a:gs>
              <a:gs pos="77700">
                <a:srgbClr val="F2F2F2">
                  <a:alpha val="45000"/>
                </a:srgbClr>
              </a:gs>
              <a:gs pos="0">
                <a:schemeClr val="bg1"/>
              </a:gs>
            </a:gsLst>
            <a:lin ang="5400000" scaled="0"/>
          </a:gradFill>
        </p:spPr>
        <p:txBody>
          <a:bodyPr lIns="108000" tIns="108000"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F195B2F-A4CD-F505-9F7B-1CEDB2F0DF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711" y="1140052"/>
            <a:ext cx="5562602" cy="542646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180000" tIns="0" rIns="12600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803141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EED7599-45E9-E81C-7112-83575BD698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D6444254-BD1A-2B96-DF6D-3CCD0E0AE0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41005" y="1138947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21D3670-6B4B-685E-316E-EC90949082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77212" y="1137046"/>
            <a:ext cx="370998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EB4C580-5B1A-527A-BD8B-6BA3CEC9033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0661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6A02549-8E07-5A47-8E8E-EACD6129345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4100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F6439200-7344-D66F-8B4B-D67D2E07FC0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88324" y="1485596"/>
            <a:ext cx="3709989" cy="46866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126202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9AD339D-749A-02D4-E01F-5DACACF523A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6614" y="1125538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6DB8F43-4A8B-29EF-0B33-8BD81E7CEBE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3931" y="1125538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97BAABF-4699-8ADF-0F24-EC954494846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0210" y="3778024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9A29D43-BB82-AF5E-48FB-2B9FCC274FB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7527" y="3778024"/>
            <a:ext cx="5560786" cy="23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216478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ntent and importan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41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: Single Corner Rounded 16">
            <a:extLst>
              <a:ext uri="{FF2B5EF4-FFF2-40B4-BE49-F238E27FC236}">
                <a16:creationId xmlns:a16="http://schemas.microsoft.com/office/drawing/2014/main" id="{4AA4E692-82E8-19F0-8F03-F1FB95E2032E}"/>
              </a:ext>
            </a:extLst>
          </p:cNvPr>
          <p:cNvSpPr/>
          <p:nvPr userDrawn="1"/>
        </p:nvSpPr>
        <p:spPr>
          <a:xfrm flipH="1">
            <a:off x="7886700" y="1"/>
            <a:ext cx="4305298" cy="6858000"/>
          </a:xfrm>
          <a:prstGeom prst="round1Rect">
            <a:avLst>
              <a:gd name="adj" fmla="val 2933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727165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727165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6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686F2FA9-BA0A-B35B-7432-6159E95D20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0C5B88C-EC64-8D88-0137-0603531E8450}"/>
              </a:ext>
            </a:extLst>
          </p:cNvPr>
          <p:cNvGrpSpPr/>
          <p:nvPr userDrawn="1"/>
        </p:nvGrpSpPr>
        <p:grpSpPr>
          <a:xfrm>
            <a:off x="7038975" y="1472796"/>
            <a:ext cx="5153025" cy="5385204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4B6C611-4A08-61CB-5F66-D3AAF527993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E24EC28-8317-913A-4536-2662E032132C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0BCCBD1-A858-BCBB-5C5D-0B8A5FA2EE13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B74332B-8C22-464D-6E90-8B577A144F31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4C77F0-1BD6-5D1C-9D33-6E946844A69F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AD959DC-FBEC-0352-40E1-06A693C19103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8C7C39-A3C0-5158-D723-D93CACB66544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3F6FBE-FFE9-EDAA-C5A5-BCAFF49ACDEA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3C1C918-757A-BE5F-B880-1EFB8F891F0B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53A329A-8C98-3A49-F260-C7D0255BF5DA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3AF54B2-4E6C-04EB-459D-31E28FE4F468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FE537E-9809-79CA-0A2C-A7D1DAE94922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0479640-B524-5BD4-66DF-15DAC712215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896993E-63C5-DE8F-D809-74C1477DE2BB}"/>
              </a:ext>
            </a:extLst>
          </p:cNvPr>
          <p:cNvGrpSpPr/>
          <p:nvPr userDrawn="1"/>
        </p:nvGrpSpPr>
        <p:grpSpPr>
          <a:xfrm flipV="1">
            <a:off x="7038973" y="0"/>
            <a:ext cx="5153025" cy="5441232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F0B2C07-E649-A2C3-0878-289F608723C1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A72DBCC-2FAC-E434-1C84-552D1071FBD8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CFFDE67-8CC6-C989-FE4C-C88CE8EC03A0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CC84378-5040-89E9-5F04-602D6E43238D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2488120-0FF3-77EE-1A33-9FD039544B39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965423E-803F-1A7E-E0D0-A84CFAD214D7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CBD2F69-B850-0873-A02D-13744F2B9592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B60CDAB-5956-9AA7-5B9B-7D1A7FFAB53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F4A3299-5906-605A-D5D4-7043BD622ECC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1FA701-504E-1F72-B86E-4D5258E94AC6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B05EBEA-D454-812D-514F-718BF0C93773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2BD8E32-6D64-0B20-FB44-9B06C88E15F2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054C5C7-F1C1-F2EB-8996-1DB614C84CEB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1" name="Content Placeholder 23">
            <a:extLst>
              <a:ext uri="{FF2B5EF4-FFF2-40B4-BE49-F238E27FC236}">
                <a16:creationId xmlns:a16="http://schemas.microsoft.com/office/drawing/2014/main" id="{24C40B72-2E99-6338-FA93-50D04742494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099425" y="1125537"/>
            <a:ext cx="3798888" cy="5044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406522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and importan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619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4619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87FC1D77-4337-A692-AC2B-A92F62311AF7}"/>
              </a:ext>
            </a:extLst>
          </p:cNvPr>
          <p:cNvSpPr/>
          <p:nvPr userDrawn="1"/>
        </p:nvSpPr>
        <p:spPr>
          <a:xfrm rot="10800000">
            <a:off x="8127997" y="-2"/>
            <a:ext cx="4063999" cy="5326742"/>
          </a:xfrm>
          <a:prstGeom prst="round1Rect">
            <a:avLst>
              <a:gd name="adj" fmla="val 255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D32F29-21E6-7B16-EE5E-1CBAC50D1258}"/>
              </a:ext>
            </a:extLst>
          </p:cNvPr>
          <p:cNvGrpSpPr/>
          <p:nvPr userDrawn="1"/>
        </p:nvGrpSpPr>
        <p:grpSpPr>
          <a:xfrm>
            <a:off x="7083504" y="-11928"/>
            <a:ext cx="5108495" cy="5338668"/>
            <a:chOff x="7083504" y="-11928"/>
            <a:chExt cx="5108495" cy="533866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C27B8C-4C5D-018B-77D8-502E57BCABBE}"/>
                </a:ext>
              </a:extLst>
            </p:cNvPr>
            <p:cNvSpPr/>
            <p:nvPr/>
          </p:nvSpPr>
          <p:spPr>
            <a:xfrm rot="10800000">
              <a:off x="10874102" y="-11928"/>
              <a:ext cx="1317897" cy="1357882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bg1"/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8FB9FE9-EABC-22F3-DC28-819A274D5C86}"/>
                </a:ext>
              </a:extLst>
            </p:cNvPr>
            <p:cNvSpPr/>
            <p:nvPr/>
          </p:nvSpPr>
          <p:spPr>
            <a:xfrm rot="10800000">
              <a:off x="10847272" y="405012"/>
              <a:ext cx="59976" cy="60238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bg1"/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23AAED5-39C9-152C-2B2C-A93823B3865F}"/>
                </a:ext>
              </a:extLst>
            </p:cNvPr>
            <p:cNvGrpSpPr/>
            <p:nvPr userDrawn="1"/>
          </p:nvGrpSpPr>
          <p:grpSpPr>
            <a:xfrm>
              <a:off x="7083504" y="3338057"/>
              <a:ext cx="5108495" cy="1988683"/>
              <a:chOff x="7083504" y="3338057"/>
              <a:chExt cx="5108495" cy="1988683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330FE1EA-DB16-AF35-F75C-EDC39CAAF556}"/>
                  </a:ext>
                </a:extLst>
              </p:cNvPr>
              <p:cNvSpPr/>
              <p:nvPr/>
            </p:nvSpPr>
            <p:spPr>
              <a:xfrm rot="10800000">
                <a:off x="9799529" y="4269002"/>
                <a:ext cx="2392470" cy="1057738"/>
              </a:xfrm>
              <a:custGeom>
                <a:avLst/>
                <a:gdLst>
                  <a:gd name="connsiteX0" fmla="*/ 2453078 w 2855226"/>
                  <a:gd name="connsiteY0" fmla="*/ 1262327 h 1262327"/>
                  <a:gd name="connsiteX1" fmla="*/ 0 w 2855226"/>
                  <a:gd name="connsiteY1" fmla="*/ 1262327 h 1262327"/>
                  <a:gd name="connsiteX2" fmla="*/ 0 w 2855226"/>
                  <a:gd name="connsiteY2" fmla="*/ 1254479 h 1262327"/>
                  <a:gd name="connsiteX3" fmla="*/ 2453078 w 2855226"/>
                  <a:gd name="connsiteY3" fmla="*/ 1254479 h 1262327"/>
                  <a:gd name="connsiteX4" fmla="*/ 2847064 w 2855226"/>
                  <a:gd name="connsiteY4" fmla="*/ 860178 h 1262327"/>
                  <a:gd name="connsiteX5" fmla="*/ 2847064 w 2855226"/>
                  <a:gd name="connsiteY5" fmla="*/ 0 h 1262327"/>
                  <a:gd name="connsiteX6" fmla="*/ 2855227 w 2855226"/>
                  <a:gd name="connsiteY6" fmla="*/ 0 h 1262327"/>
                  <a:gd name="connsiteX7" fmla="*/ 2855227 w 2855226"/>
                  <a:gd name="connsiteY7" fmla="*/ 860178 h 1262327"/>
                  <a:gd name="connsiteX8" fmla="*/ 2453078 w 2855226"/>
                  <a:gd name="connsiteY8" fmla="*/ 1262327 h 12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5226" h="1262327">
                    <a:moveTo>
                      <a:pt x="2453078" y="1262327"/>
                    </a:moveTo>
                    <a:lnTo>
                      <a:pt x="0" y="1262327"/>
                    </a:lnTo>
                    <a:lnTo>
                      <a:pt x="0" y="1254479"/>
                    </a:lnTo>
                    <a:lnTo>
                      <a:pt x="2453078" y="1254479"/>
                    </a:lnTo>
                    <a:cubicBezTo>
                      <a:pt x="2670320" y="1254479"/>
                      <a:pt x="2847064" y="1077420"/>
                      <a:pt x="2847064" y="860178"/>
                    </a:cubicBezTo>
                    <a:lnTo>
                      <a:pt x="2847064" y="0"/>
                    </a:lnTo>
                    <a:lnTo>
                      <a:pt x="2855227" y="0"/>
                    </a:lnTo>
                    <a:lnTo>
                      <a:pt x="2855227" y="860178"/>
                    </a:lnTo>
                    <a:cubicBezTo>
                      <a:pt x="2855227" y="1081815"/>
                      <a:pt x="2674715" y="1262327"/>
                      <a:pt x="2453078" y="126232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E65EEB4-B5EB-02C0-7A87-C4683ED6255A}"/>
                  </a:ext>
                </a:extLst>
              </p:cNvPr>
              <p:cNvSpPr/>
              <p:nvPr/>
            </p:nvSpPr>
            <p:spPr>
              <a:xfrm rot="10800000">
                <a:off x="7126908" y="3381461"/>
                <a:ext cx="3393388" cy="1945279"/>
              </a:xfrm>
              <a:custGeom>
                <a:avLst/>
                <a:gdLst>
                  <a:gd name="connsiteX0" fmla="*/ 4049744 w 4049743"/>
                  <a:gd name="connsiteY0" fmla="*/ 2321539 h 2321539"/>
                  <a:gd name="connsiteX1" fmla="*/ 2600312 w 4049743"/>
                  <a:gd name="connsiteY1" fmla="*/ 2321539 h 2321539"/>
                  <a:gd name="connsiteX2" fmla="*/ 2198164 w 4049743"/>
                  <a:gd name="connsiteY2" fmla="*/ 1919390 h 2321539"/>
                  <a:gd name="connsiteX3" fmla="*/ 2198164 w 4049743"/>
                  <a:gd name="connsiteY3" fmla="*/ 1146800 h 2321539"/>
                  <a:gd name="connsiteX4" fmla="*/ 1803863 w 4049743"/>
                  <a:gd name="connsiteY4" fmla="*/ 752499 h 2321539"/>
                  <a:gd name="connsiteX5" fmla="*/ 402149 w 4049743"/>
                  <a:gd name="connsiteY5" fmla="*/ 752499 h 2321539"/>
                  <a:gd name="connsiteX6" fmla="*/ 0 w 4049743"/>
                  <a:gd name="connsiteY6" fmla="*/ 350350 h 2321539"/>
                  <a:gd name="connsiteX7" fmla="*/ 0 w 4049743"/>
                  <a:gd name="connsiteY7" fmla="*/ 0 h 2321539"/>
                  <a:gd name="connsiteX8" fmla="*/ 7848 w 4049743"/>
                  <a:gd name="connsiteY8" fmla="*/ 0 h 2321539"/>
                  <a:gd name="connsiteX9" fmla="*/ 7848 w 4049743"/>
                  <a:gd name="connsiteY9" fmla="*/ 350350 h 2321539"/>
                  <a:gd name="connsiteX10" fmla="*/ 402149 w 4049743"/>
                  <a:gd name="connsiteY10" fmla="*/ 744651 h 2321539"/>
                  <a:gd name="connsiteX11" fmla="*/ 1803863 w 4049743"/>
                  <a:gd name="connsiteY11" fmla="*/ 744651 h 2321539"/>
                  <a:gd name="connsiteX12" fmla="*/ 2206012 w 4049743"/>
                  <a:gd name="connsiteY12" fmla="*/ 1146800 h 2321539"/>
                  <a:gd name="connsiteX13" fmla="*/ 2206012 w 4049743"/>
                  <a:gd name="connsiteY13" fmla="*/ 1919390 h 2321539"/>
                  <a:gd name="connsiteX14" fmla="*/ 2600312 w 4049743"/>
                  <a:gd name="connsiteY14" fmla="*/ 2313691 h 2321539"/>
                  <a:gd name="connsiteX15" fmla="*/ 4049744 w 4049743"/>
                  <a:gd name="connsiteY15" fmla="*/ 2313691 h 2321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49743" h="2321539">
                    <a:moveTo>
                      <a:pt x="4049744" y="2321539"/>
                    </a:moveTo>
                    <a:lnTo>
                      <a:pt x="2600312" y="2321539"/>
                    </a:lnTo>
                    <a:cubicBezTo>
                      <a:pt x="2378675" y="2321539"/>
                      <a:pt x="2198164" y="2141028"/>
                      <a:pt x="2198164" y="1919390"/>
                    </a:cubicBezTo>
                    <a:lnTo>
                      <a:pt x="2198164" y="1146800"/>
                    </a:lnTo>
                    <a:cubicBezTo>
                      <a:pt x="2198164" y="929557"/>
                      <a:pt x="2021105" y="752499"/>
                      <a:pt x="1803863" y="752499"/>
                    </a:cubicBezTo>
                    <a:lnTo>
                      <a:pt x="402149" y="752499"/>
                    </a:lnTo>
                    <a:cubicBezTo>
                      <a:pt x="180512" y="752499"/>
                      <a:pt x="0" y="572301"/>
                      <a:pt x="0" y="350350"/>
                    </a:cubicBezTo>
                    <a:lnTo>
                      <a:pt x="0" y="0"/>
                    </a:lnTo>
                    <a:lnTo>
                      <a:pt x="7848" y="0"/>
                    </a:lnTo>
                    <a:lnTo>
                      <a:pt x="7848" y="350350"/>
                    </a:lnTo>
                    <a:cubicBezTo>
                      <a:pt x="7848" y="567906"/>
                      <a:pt x="184907" y="744651"/>
                      <a:pt x="402149" y="744651"/>
                    </a:cubicBezTo>
                    <a:lnTo>
                      <a:pt x="1803863" y="744651"/>
                    </a:lnTo>
                    <a:cubicBezTo>
                      <a:pt x="2025500" y="744651"/>
                      <a:pt x="2206012" y="925162"/>
                      <a:pt x="2206012" y="1146800"/>
                    </a:cubicBezTo>
                    <a:lnTo>
                      <a:pt x="2206012" y="1919390"/>
                    </a:lnTo>
                    <a:cubicBezTo>
                      <a:pt x="2206012" y="2136632"/>
                      <a:pt x="2383071" y="2313691"/>
                      <a:pt x="2600312" y="2313691"/>
                    </a:cubicBezTo>
                    <a:lnTo>
                      <a:pt x="4049744" y="2313691"/>
                    </a:ln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4FE431F-B007-0C81-9047-FF18B34B964A}"/>
                  </a:ext>
                </a:extLst>
              </p:cNvPr>
              <p:cNvSpPr/>
              <p:nvPr/>
            </p:nvSpPr>
            <p:spPr>
              <a:xfrm rot="10800000">
                <a:off x="9485970" y="4669371"/>
                <a:ext cx="59976" cy="60238"/>
              </a:xfrm>
              <a:custGeom>
                <a:avLst/>
                <a:gdLst>
                  <a:gd name="connsiteX0" fmla="*/ 71577 w 71577"/>
                  <a:gd name="connsiteY0" fmla="*/ 36102 h 71890"/>
                  <a:gd name="connsiteX1" fmla="*/ 35789 w 71577"/>
                  <a:gd name="connsiteY1" fmla="*/ 71891 h 71890"/>
                  <a:gd name="connsiteX2" fmla="*/ 0 w 71577"/>
                  <a:gd name="connsiteY2" fmla="*/ 36102 h 71890"/>
                  <a:gd name="connsiteX3" fmla="*/ 35789 w 71577"/>
                  <a:gd name="connsiteY3" fmla="*/ 0 h 71890"/>
                  <a:gd name="connsiteX4" fmla="*/ 71577 w 71577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7" h="71890">
                    <a:moveTo>
                      <a:pt x="71577" y="36102"/>
                    </a:moveTo>
                    <a:cubicBezTo>
                      <a:pt x="71577" y="55880"/>
                      <a:pt x="55566" y="71891"/>
                      <a:pt x="35789" y="71891"/>
                    </a:cubicBezTo>
                    <a:cubicBezTo>
                      <a:pt x="16011" y="71891"/>
                      <a:pt x="0" y="55880"/>
                      <a:pt x="0" y="36102"/>
                    </a:cubicBezTo>
                    <a:cubicBezTo>
                      <a:pt x="0" y="16325"/>
                      <a:pt x="16011" y="0"/>
                      <a:pt x="35789" y="0"/>
                    </a:cubicBezTo>
                    <a:cubicBezTo>
                      <a:pt x="55566" y="0"/>
                      <a:pt x="71577" y="16325"/>
                      <a:pt x="71577" y="3610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F48A92FA-BF08-7CAD-A55F-3A2CAF1D46EB}"/>
                  </a:ext>
                </a:extLst>
              </p:cNvPr>
              <p:cNvSpPr/>
              <p:nvPr/>
            </p:nvSpPr>
            <p:spPr>
              <a:xfrm rot="10800000">
                <a:off x="10713904" y="4242435"/>
                <a:ext cx="59976" cy="59976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9 w 71576"/>
                  <a:gd name="connsiteY1" fmla="*/ 71577 h 71576"/>
                  <a:gd name="connsiteX2" fmla="*/ 0 w 71576"/>
                  <a:gd name="connsiteY2" fmla="*/ 35788 h 71576"/>
                  <a:gd name="connsiteX3" fmla="*/ 35789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9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9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C34CBFA-F252-A5D2-40A2-44BB585C580F}"/>
                  </a:ext>
                </a:extLst>
              </p:cNvPr>
              <p:cNvSpPr/>
              <p:nvPr userDrawn="1"/>
            </p:nvSpPr>
            <p:spPr>
              <a:xfrm rot="10800000">
                <a:off x="7083504" y="3338057"/>
                <a:ext cx="86807" cy="86807"/>
              </a:xfrm>
              <a:custGeom>
                <a:avLst/>
                <a:gdLst>
                  <a:gd name="connsiteX0" fmla="*/ 103598 w 103598"/>
                  <a:gd name="connsiteY0" fmla="*/ 51799 h 103598"/>
                  <a:gd name="connsiteX1" fmla="*/ 51799 w 103598"/>
                  <a:gd name="connsiteY1" fmla="*/ 103598 h 103598"/>
                  <a:gd name="connsiteX2" fmla="*/ 0 w 103598"/>
                  <a:gd name="connsiteY2" fmla="*/ 51799 h 103598"/>
                  <a:gd name="connsiteX3" fmla="*/ 51799 w 103598"/>
                  <a:gd name="connsiteY3" fmla="*/ 0 h 103598"/>
                  <a:gd name="connsiteX4" fmla="*/ 103598 w 103598"/>
                  <a:gd name="connsiteY4" fmla="*/ 51799 h 10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98" h="103598">
                    <a:moveTo>
                      <a:pt x="103598" y="51799"/>
                    </a:moveTo>
                    <a:cubicBezTo>
                      <a:pt x="103598" y="80367"/>
                      <a:pt x="80367" y="103598"/>
                      <a:pt x="51799" y="103598"/>
                    </a:cubicBezTo>
                    <a:cubicBezTo>
                      <a:pt x="23231" y="103598"/>
                      <a:pt x="0" y="80367"/>
                      <a:pt x="0" y="51799"/>
                    </a:cubicBezTo>
                    <a:cubicBezTo>
                      <a:pt x="0" y="23231"/>
                      <a:pt x="23231" y="0"/>
                      <a:pt x="51799" y="0"/>
                    </a:cubicBezTo>
                    <a:cubicBezTo>
                      <a:pt x="80367" y="0"/>
                      <a:pt x="103598" y="23231"/>
                      <a:pt x="103598" y="5179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0763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15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725EB9F-66CE-9863-DDE8-E27183BB5B1E}"/>
              </a:ext>
            </a:extLst>
          </p:cNvPr>
          <p:cNvSpPr/>
          <p:nvPr/>
        </p:nvSpPr>
        <p:spPr>
          <a:xfrm>
            <a:off x="1" y="2315833"/>
            <a:ext cx="2226336" cy="2226336"/>
          </a:xfrm>
          <a:custGeom>
            <a:avLst/>
            <a:gdLst>
              <a:gd name="connsiteX0" fmla="*/ 1608779 w 3217559"/>
              <a:gd name="connsiteY0" fmla="*/ 3217559 h 3217559"/>
              <a:gd name="connsiteX1" fmla="*/ 1 w 3217559"/>
              <a:gd name="connsiteY1" fmla="*/ 3217559 h 3217559"/>
              <a:gd name="connsiteX2" fmla="*/ 1 w 3217559"/>
              <a:gd name="connsiteY2" fmla="*/ 1608798 h 3217559"/>
              <a:gd name="connsiteX3" fmla="*/ 0 w 3217559"/>
              <a:gd name="connsiteY3" fmla="*/ 1608779 h 3217559"/>
              <a:gd name="connsiteX4" fmla="*/ 1 w 3217559"/>
              <a:gd name="connsiteY4" fmla="*/ 1608779 h 3217559"/>
              <a:gd name="connsiteX5" fmla="*/ 1608780 w 3217559"/>
              <a:gd name="connsiteY5" fmla="*/ 0 h 3217559"/>
              <a:gd name="connsiteX6" fmla="*/ 3217558 w 3217559"/>
              <a:gd name="connsiteY6" fmla="*/ 0 h 3217559"/>
              <a:gd name="connsiteX7" fmla="*/ 3217558 w 3217559"/>
              <a:gd name="connsiteY7" fmla="*/ 1608760 h 3217559"/>
              <a:gd name="connsiteX8" fmla="*/ 3217559 w 3217559"/>
              <a:gd name="connsiteY8" fmla="*/ 1608780 h 3217559"/>
              <a:gd name="connsiteX9" fmla="*/ 3217558 w 3217559"/>
              <a:gd name="connsiteY9" fmla="*/ 1608780 h 3217559"/>
              <a:gd name="connsiteX10" fmla="*/ 1608779 w 3217559"/>
              <a:gd name="connsiteY10" fmla="*/ 3217559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9">
                <a:moveTo>
                  <a:pt x="1608779" y="3217559"/>
                </a:moveTo>
                <a:lnTo>
                  <a:pt x="1" y="3217559"/>
                </a:lnTo>
                <a:lnTo>
                  <a:pt x="1" y="1608798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60"/>
                </a:lnTo>
                <a:lnTo>
                  <a:pt x="3217559" y="1608780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959B485-73AB-CB74-27D3-F0D28A9FEFDE}"/>
              </a:ext>
            </a:extLst>
          </p:cNvPr>
          <p:cNvSpPr/>
          <p:nvPr/>
        </p:nvSpPr>
        <p:spPr>
          <a:xfrm rot="10800000">
            <a:off x="9965663" y="4631665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011FFD4-C986-99CF-C243-C6DA38E6E838}"/>
              </a:ext>
            </a:extLst>
          </p:cNvPr>
          <p:cNvGrpSpPr/>
          <p:nvPr/>
        </p:nvGrpSpPr>
        <p:grpSpPr>
          <a:xfrm flipH="1">
            <a:off x="7804227" y="2232760"/>
            <a:ext cx="4413473" cy="2341442"/>
            <a:chOff x="7619719" y="2245130"/>
            <a:chExt cx="4414211" cy="2341442"/>
          </a:xfrm>
          <a:noFill/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BEB560-3783-7D00-5490-5E5FD16C1E32}"/>
                </a:ext>
              </a:extLst>
            </p:cNvPr>
            <p:cNvGrpSpPr/>
            <p:nvPr userDrawn="1"/>
          </p:nvGrpSpPr>
          <p:grpSpPr>
            <a:xfrm>
              <a:off x="7642044" y="2322588"/>
              <a:ext cx="4236971" cy="2263984"/>
              <a:chOff x="7642044" y="2322588"/>
              <a:chExt cx="4236971" cy="2263984"/>
            </a:xfrm>
            <a:grpFill/>
          </p:grpSpPr>
          <p:sp>
            <p:nvSpPr>
              <p:cNvPr id="77" name="Arc 76">
                <a:extLst>
                  <a:ext uri="{FF2B5EF4-FFF2-40B4-BE49-F238E27FC236}">
                    <a16:creationId xmlns:a16="http://schemas.microsoft.com/office/drawing/2014/main" id="{87B2DEF1-844B-F2A1-9F2D-AC79ADBEDC2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DB8D83BE-1523-80CD-F759-8E24B8A16EC2}"/>
                  </a:ext>
                </a:extLst>
              </p:cNvPr>
              <p:cNvCxnSpPr>
                <a:cxnSpLocks/>
                <a:stCxn id="71" idx="2"/>
              </p:cNvCxnSpPr>
              <p:nvPr userDrawn="1"/>
            </p:nvCxnSpPr>
            <p:spPr>
              <a:xfrm flipH="1">
                <a:off x="8757578" y="2322588"/>
                <a:ext cx="3121437" cy="0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80C39D3-6CAC-4B72-C7A5-ADF49944F6BE}"/>
                </a:ext>
              </a:extLst>
            </p:cNvPr>
            <p:cNvSpPr/>
            <p:nvPr userDrawn="1"/>
          </p:nvSpPr>
          <p:spPr>
            <a:xfrm>
              <a:off x="11879015" y="2245130"/>
              <a:ext cx="154915" cy="154915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55745CD-694B-70F1-4727-01AB7466907B}"/>
                </a:ext>
              </a:extLst>
            </p:cNvPr>
            <p:cNvGrpSpPr/>
            <p:nvPr userDrawn="1"/>
          </p:nvGrpSpPr>
          <p:grpSpPr>
            <a:xfrm rot="10800000">
              <a:off x="7619719" y="2292361"/>
              <a:ext cx="2266671" cy="2263984"/>
              <a:chOff x="7638060" y="2322588"/>
              <a:chExt cx="2266671" cy="2263984"/>
            </a:xfrm>
            <a:grpFill/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DB387F6-6F15-FDB3-9CED-CF103AABE1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 flipH="1">
                <a:off x="7638060" y="3432378"/>
                <a:ext cx="0" cy="937728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Arc 73">
                <a:extLst>
                  <a:ext uri="{FF2B5EF4-FFF2-40B4-BE49-F238E27FC236}">
                    <a16:creationId xmlns:a16="http://schemas.microsoft.com/office/drawing/2014/main" id="{9982860C-6C16-8B07-E825-7831A85C904B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3D042C-FB49-9E52-41A6-D91D7BD0CC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1147152" cy="0"/>
              </a:xfrm>
              <a:prstGeom prst="line">
                <a:avLst/>
              </a:prstGeom>
              <a:grpFill/>
              <a:ln w="63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AE3FCA36-1824-6553-BA48-7497574556AB}"/>
              </a:ext>
            </a:extLst>
          </p:cNvPr>
          <p:cNvSpPr/>
          <p:nvPr userDrawn="1"/>
        </p:nvSpPr>
        <p:spPr>
          <a:xfrm rot="10800000">
            <a:off x="9965664" y="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4F2F645E-5F05-EA21-624B-02466CCFF20A}"/>
              </a:ext>
            </a:extLst>
          </p:cNvPr>
          <p:cNvSpPr/>
          <p:nvPr userDrawn="1"/>
        </p:nvSpPr>
        <p:spPr>
          <a:xfrm rot="5400000">
            <a:off x="7646777" y="0"/>
            <a:ext cx="2226335" cy="2226336"/>
          </a:xfrm>
          <a:custGeom>
            <a:avLst/>
            <a:gdLst>
              <a:gd name="connsiteX0" fmla="*/ 0 w 3217558"/>
              <a:gd name="connsiteY0" fmla="*/ 3217558 h 3217559"/>
              <a:gd name="connsiteX1" fmla="*/ 0 w 3217558"/>
              <a:gd name="connsiteY1" fmla="*/ 1608780 h 3217559"/>
              <a:gd name="connsiteX2" fmla="*/ 0 w 3217558"/>
              <a:gd name="connsiteY2" fmla="*/ 1608779 h 3217559"/>
              <a:gd name="connsiteX3" fmla="*/ 1444291 w 3217558"/>
              <a:gd name="connsiteY3" fmla="*/ 8307 h 3217559"/>
              <a:gd name="connsiteX4" fmla="*/ 1608779 w 3217558"/>
              <a:gd name="connsiteY4" fmla="*/ 0 h 3217559"/>
              <a:gd name="connsiteX5" fmla="*/ 3217558 w 3217558"/>
              <a:gd name="connsiteY5" fmla="*/ 0 h 3217559"/>
              <a:gd name="connsiteX6" fmla="*/ 3217558 w 3217558"/>
              <a:gd name="connsiteY6" fmla="*/ 1608779 h 3217559"/>
              <a:gd name="connsiteX7" fmla="*/ 3217558 w 3217558"/>
              <a:gd name="connsiteY7" fmla="*/ 1608780 h 3217559"/>
              <a:gd name="connsiteX8" fmla="*/ 1608779 w 3217558"/>
              <a:gd name="connsiteY8" fmla="*/ 3217559 h 3217559"/>
              <a:gd name="connsiteX9" fmla="*/ 1608759 w 3217558"/>
              <a:gd name="connsiteY9" fmla="*/ 3217558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17558" h="3217559">
                <a:moveTo>
                  <a:pt x="0" y="3217558"/>
                </a:moveTo>
                <a:lnTo>
                  <a:pt x="0" y="1608780"/>
                </a:lnTo>
                <a:lnTo>
                  <a:pt x="0" y="1608779"/>
                </a:lnTo>
                <a:cubicBezTo>
                  <a:pt x="0" y="775807"/>
                  <a:pt x="633054" y="90692"/>
                  <a:pt x="1444291" y="8307"/>
                </a:cubicBezTo>
                <a:cubicBezTo>
                  <a:pt x="1498373" y="2815"/>
                  <a:pt x="1553248" y="0"/>
                  <a:pt x="1608779" y="0"/>
                </a:cubicBezTo>
                <a:lnTo>
                  <a:pt x="3217558" y="0"/>
                </a:lnTo>
                <a:lnTo>
                  <a:pt x="3217558" y="1608779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lnTo>
                  <a:pt x="1608759" y="3217558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DBF4DF32-1692-202B-C7F1-AA7872520537}"/>
              </a:ext>
            </a:extLst>
          </p:cNvPr>
          <p:cNvSpPr/>
          <p:nvPr userDrawn="1"/>
        </p:nvSpPr>
        <p:spPr>
          <a:xfrm flipH="1">
            <a:off x="9888218" y="2386119"/>
            <a:ext cx="154889" cy="154915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FB6E3C0E-218D-CD64-821E-56D6007E0635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6F23026-9D1F-C24B-4BCB-3B43F563D48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B25EACA-58A5-8259-E7D4-D54484E3D57F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AB0CFDB-9B99-8901-7118-7B1640A8820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9F615A1-94D9-A7CF-7CFC-AD28AD0F8042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EECC672-2EB6-6A53-C2C8-EC2006A2F8E8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4F59E00-F405-F259-EB3B-72988FA9CE5E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CA2226D5-A177-BBE3-B163-EDBAD9BE7FB8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D64A478B-E063-53E3-66C4-53CFCFADFD79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A02F5F2-59ED-DCCD-F3C7-49346D3DB69D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2E7305EC-CF6D-BBF1-D63A-543A49A261BD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79D2560-2288-E9A2-4652-B05044F7DA25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678CB9F-9B66-075B-BA88-C3B1328C4887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8526A5A-4A6A-E0B6-D2A5-7BD7FC39A690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406F695-F7BB-8438-3C30-08D1F9901EB2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0789FA2-2AE7-7C9F-9E92-B748420057D7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1004EE6-88AE-03DE-A35D-29855AF0AE1F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1612409-5D4B-76CE-C22C-5E9A3522E81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A65877-C3AC-A9C4-83A7-686E6269F0FE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E87F074-B25E-8365-9709-327EA6100C2C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44" name="Rectangle 5">
            <a:extLst>
              <a:ext uri="{FF2B5EF4-FFF2-40B4-BE49-F238E27FC236}">
                <a16:creationId xmlns:a16="http://schemas.microsoft.com/office/drawing/2014/main" id="{5C71DA24-32C0-174A-31BF-267F2962A2B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145" name="Foliennummernplatzhalter 3">
            <a:extLst>
              <a:ext uri="{FF2B5EF4-FFF2-40B4-BE49-F238E27FC236}">
                <a16:creationId xmlns:a16="http://schemas.microsoft.com/office/drawing/2014/main" id="{C8B58FBA-343C-6EFD-0A52-6E17FEF61D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>
              <a:solidFill>
                <a:srgbClr val="626469"/>
              </a:solidFill>
            </a:endParaRPr>
          </a:p>
        </p:txBody>
      </p:sp>
      <p:pic>
        <p:nvPicPr>
          <p:cNvPr id="147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CE07EA00-2ED1-80F7-0CC3-075183B788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0030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359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01980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601980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B39CBE4-07E8-76C7-E580-5263651555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6440" y="1502445"/>
            <a:ext cx="5355560" cy="535555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E2981E-278A-F521-4535-69D9B44B4454}"/>
              </a:ext>
            </a:extLst>
          </p:cNvPr>
          <p:cNvSpPr/>
          <p:nvPr userDrawn="1"/>
        </p:nvSpPr>
        <p:spPr>
          <a:xfrm>
            <a:off x="7229038" y="0"/>
            <a:ext cx="4962958" cy="1287152"/>
          </a:xfrm>
          <a:custGeom>
            <a:avLst/>
            <a:gdLst>
              <a:gd name="connsiteX0" fmla="*/ 0 w 4962958"/>
              <a:gd name="connsiteY0" fmla="*/ 0 h 1287152"/>
              <a:gd name="connsiteX1" fmla="*/ 4962958 w 4962958"/>
              <a:gd name="connsiteY1" fmla="*/ 0 h 1287152"/>
              <a:gd name="connsiteX2" fmla="*/ 4962958 w 4962958"/>
              <a:gd name="connsiteY2" fmla="*/ 1287152 h 1287152"/>
              <a:gd name="connsiteX3" fmla="*/ 2285183 w 4962958"/>
              <a:gd name="connsiteY3" fmla="*/ 1287152 h 1287152"/>
              <a:gd name="connsiteX4" fmla="*/ 64727 w 4962958"/>
              <a:gd name="connsiteY4" fmla="*/ 106545 h 1287152"/>
              <a:gd name="connsiteX5" fmla="*/ 0 w 4962958"/>
              <a:gd name="connsiteY5" fmla="*/ 0 h 128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2958" h="1287152">
                <a:moveTo>
                  <a:pt x="0" y="0"/>
                </a:moveTo>
                <a:lnTo>
                  <a:pt x="4962958" y="0"/>
                </a:lnTo>
                <a:lnTo>
                  <a:pt x="4962958" y="1287152"/>
                </a:lnTo>
                <a:lnTo>
                  <a:pt x="2285183" y="1287152"/>
                </a:lnTo>
                <a:cubicBezTo>
                  <a:pt x="1360874" y="1287152"/>
                  <a:pt x="545944" y="818839"/>
                  <a:pt x="64727" y="10654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50939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37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01980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601980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B39CBE4-07E8-76C7-E580-5263651555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 flipH="1">
            <a:off x="6836444" y="0"/>
            <a:ext cx="5355552" cy="5355555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60E775-1E0C-B41F-4FFD-36249AF81D6B}"/>
              </a:ext>
            </a:extLst>
          </p:cNvPr>
          <p:cNvGrpSpPr/>
          <p:nvPr userDrawn="1"/>
        </p:nvGrpSpPr>
        <p:grpSpPr>
          <a:xfrm>
            <a:off x="6561963" y="-66406"/>
            <a:ext cx="5687966" cy="6415534"/>
            <a:chOff x="7607475" y="2279991"/>
            <a:chExt cx="2285012" cy="257760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D1C6D67-8900-AA03-C270-0C707FF5AB7B}"/>
                </a:ext>
              </a:extLst>
            </p:cNvPr>
            <p:cNvGrpSpPr/>
            <p:nvPr userDrawn="1"/>
          </p:nvGrpSpPr>
          <p:grpSpPr>
            <a:xfrm>
              <a:off x="7625816" y="2310218"/>
              <a:ext cx="2266671" cy="2547375"/>
              <a:chOff x="7638060" y="2322588"/>
              <a:chExt cx="2266671" cy="2547375"/>
            </a:xfrm>
            <a:noFill/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EC5045D-DF55-59D0-3C94-9112CA973E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638060" y="3432378"/>
                <a:ext cx="0" cy="1437585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8A387750-0C86-E553-D204-927375F97F83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3DD9DD2A-E69A-89BA-E681-6E9DE43B22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8757578" y="2322588"/>
                <a:ext cx="1147153" cy="0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EBE704D-F3D5-5212-B4C9-D7BB1F3D1F04}"/>
                </a:ext>
              </a:extLst>
            </p:cNvPr>
            <p:cNvGrpSpPr/>
            <p:nvPr userDrawn="1"/>
          </p:nvGrpSpPr>
          <p:grpSpPr>
            <a:xfrm rot="10800000">
              <a:off x="7607475" y="2279991"/>
              <a:ext cx="2266671" cy="2263984"/>
              <a:chOff x="7638060" y="2322588"/>
              <a:chExt cx="2266671" cy="2263984"/>
            </a:xfrm>
            <a:noFill/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C1AD411-D36E-63BA-1A19-331C49556C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7638060" y="3432378"/>
                <a:ext cx="0" cy="1127513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88834E1E-749B-9E26-2F59-41EE3C22194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066A6F21-371A-F594-46B3-EA2006B353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804189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7E95DF8-5C00-1B4D-3D15-8D24F1976E1D}"/>
              </a:ext>
            </a:extLst>
          </p:cNvPr>
          <p:cNvGrpSpPr/>
          <p:nvPr userDrawn="1"/>
        </p:nvGrpSpPr>
        <p:grpSpPr>
          <a:xfrm>
            <a:off x="6551946" y="5509654"/>
            <a:ext cx="965166" cy="839474"/>
            <a:chOff x="6551946" y="5509654"/>
            <a:chExt cx="965166" cy="83947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C0F627-C1D9-AFF1-3B6E-063C492F1154}"/>
                </a:ext>
              </a:extLst>
            </p:cNvPr>
            <p:cNvSpPr/>
            <p:nvPr userDrawn="1"/>
          </p:nvSpPr>
          <p:spPr>
            <a:xfrm>
              <a:off x="7405768" y="5509654"/>
              <a:ext cx="111344" cy="11133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A81AFA5-1F29-2D54-A7D0-32DF963E7F64}"/>
                </a:ext>
              </a:extLst>
            </p:cNvPr>
            <p:cNvSpPr/>
            <p:nvPr userDrawn="1"/>
          </p:nvSpPr>
          <p:spPr>
            <a:xfrm>
              <a:off x="6551946" y="6237798"/>
              <a:ext cx="111344" cy="1113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1800501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619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4619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D3BEF7E-A3D2-675B-81FE-CB843542E99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27999" y="1"/>
            <a:ext cx="4063998" cy="5326743"/>
          </a:xfrm>
          <a:custGeom>
            <a:avLst/>
            <a:gdLst>
              <a:gd name="connsiteX0" fmla="*/ 0 w 4063998"/>
              <a:gd name="connsiteY0" fmla="*/ 0 h 5326743"/>
              <a:gd name="connsiteX1" fmla="*/ 4063998 w 4063998"/>
              <a:gd name="connsiteY1" fmla="*/ 0 h 5326743"/>
              <a:gd name="connsiteX2" fmla="*/ 4063998 w 4063998"/>
              <a:gd name="connsiteY2" fmla="*/ 5326743 h 5326743"/>
              <a:gd name="connsiteX3" fmla="*/ 1083746 w 4063998"/>
              <a:gd name="connsiteY3" fmla="*/ 5326743 h 5326743"/>
              <a:gd name="connsiteX4" fmla="*/ 0 w 4063998"/>
              <a:gd name="connsiteY4" fmla="*/ 4242997 h 5326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3998" h="5326743">
                <a:moveTo>
                  <a:pt x="0" y="0"/>
                </a:moveTo>
                <a:lnTo>
                  <a:pt x="4063998" y="0"/>
                </a:lnTo>
                <a:lnTo>
                  <a:pt x="4063998" y="5326743"/>
                </a:lnTo>
                <a:lnTo>
                  <a:pt x="1083746" y="5326743"/>
                </a:lnTo>
                <a:cubicBezTo>
                  <a:pt x="485210" y="5326743"/>
                  <a:pt x="0" y="4841533"/>
                  <a:pt x="0" y="4242997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B95FA25-29D4-C4CD-89F3-AA96A89A6DC3}"/>
              </a:ext>
            </a:extLst>
          </p:cNvPr>
          <p:cNvGrpSpPr/>
          <p:nvPr userDrawn="1"/>
        </p:nvGrpSpPr>
        <p:grpSpPr>
          <a:xfrm rot="16200000">
            <a:off x="1548777" y="112009"/>
            <a:ext cx="4431973" cy="7529527"/>
            <a:chOff x="5438189" y="-2943952"/>
            <a:chExt cx="4431973" cy="7529527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CF8A89-C762-7C27-5724-3A4634373960}"/>
                </a:ext>
              </a:extLst>
            </p:cNvPr>
            <p:cNvSpPr/>
            <p:nvPr userDrawn="1"/>
          </p:nvSpPr>
          <p:spPr>
            <a:xfrm>
              <a:off x="5438189" y="4524523"/>
              <a:ext cx="61052" cy="610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001A550-23FE-780F-6120-67B7FA1AD6FE}"/>
                </a:ext>
              </a:extLst>
            </p:cNvPr>
            <p:cNvGrpSpPr/>
            <p:nvPr userDrawn="1"/>
          </p:nvGrpSpPr>
          <p:grpSpPr>
            <a:xfrm rot="10800000">
              <a:off x="5499241" y="-2943952"/>
              <a:ext cx="4370921" cy="7499000"/>
              <a:chOff x="7642044" y="2311515"/>
              <a:chExt cx="4370921" cy="7499000"/>
            </a:xfrm>
            <a:noFill/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4F97B98E-90F4-1B25-A8AA-65936031F87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4455341" y="6621447"/>
                <a:ext cx="6378137" cy="0"/>
              </a:xfrm>
              <a:prstGeom prst="line">
                <a:avLst/>
              </a:prstGeom>
              <a:grpFill/>
              <a:ln>
                <a:gradFill>
                  <a:gsLst>
                    <a:gs pos="0">
                      <a:schemeClr val="accent2"/>
                    </a:gs>
                    <a:gs pos="99029">
                      <a:schemeClr val="bg1"/>
                    </a:gs>
                    <a:gs pos="74000">
                      <a:schemeClr val="accent2"/>
                    </a:gs>
                  </a:gsLst>
                  <a:lin ang="108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Arc 11">
                <a:extLst>
                  <a:ext uri="{FF2B5EF4-FFF2-40B4-BE49-F238E27FC236}">
                    <a16:creationId xmlns:a16="http://schemas.microsoft.com/office/drawing/2014/main" id="{0ABE71AE-210D-E94B-A389-4EB97E52178E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B3428D5-4E95-51A0-BCA1-6B44C45B1122}"/>
                  </a:ext>
                </a:extLst>
              </p:cNvPr>
              <p:cNvCxnSpPr>
                <a:cxnSpLocks/>
                <a:stCxn id="8" idx="6"/>
              </p:cNvCxnSpPr>
              <p:nvPr userDrawn="1"/>
            </p:nvCxnSpPr>
            <p:spPr>
              <a:xfrm rot="16200000" flipH="1" flipV="1">
                <a:off x="10379737" y="689361"/>
                <a:ext cx="11074" cy="3255382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92587227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C0C30267-E5CB-B762-D527-21FAAB91A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113" y="0"/>
            <a:ext cx="12203113" cy="68580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E00643-E239-6243-117A-7FBB76CC27A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itle Placeholder 1">
            <a:extLst>
              <a:ext uri="{FF2B5EF4-FFF2-40B4-BE49-F238E27FC236}">
                <a16:creationId xmlns:a16="http://schemas.microsoft.com/office/drawing/2014/main" id="{3A573AE6-8C73-5B06-3BD8-B4989FC1F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849879"/>
            <a:ext cx="5791202" cy="4724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762923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B91BE5-8398-34E9-A9DC-EA73947F533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0213" y="0"/>
            <a:ext cx="7951787" cy="61722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57A4050-18E9-29DC-F093-6D51C53D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2849879"/>
            <a:ext cx="3642949" cy="4724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846948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hap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C0C30267-E5CB-B762-D527-21FAAB91A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1113" y="0"/>
            <a:ext cx="12203113" cy="68580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E00643-E239-6243-117A-7FBB76CC27A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C2F40C5-EFD3-9C6A-AA3A-40062DB29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089387"/>
            <a:ext cx="3709989" cy="4682911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1" cap="none" baseline="0">
                <a:solidFill>
                  <a:schemeClr val="bg1"/>
                </a:solidFill>
                <a:latin typeface="+mj-lt"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endParaRPr lang="en-US"/>
          </a:p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904105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44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9818BBB1-08D4-DB98-EB0A-7E8F6859B079}"/>
              </a:ext>
            </a:extLst>
          </p:cNvPr>
          <p:cNvGrpSpPr/>
          <p:nvPr userDrawn="1"/>
        </p:nvGrpSpPr>
        <p:grpSpPr>
          <a:xfrm>
            <a:off x="7038973" y="-2"/>
            <a:ext cx="5153025" cy="5441234"/>
            <a:chOff x="7038973" y="-2"/>
            <a:chExt cx="5153025" cy="5441234"/>
          </a:xfrm>
        </p:grpSpPr>
        <p:sp>
          <p:nvSpPr>
            <p:cNvPr id="9" name="Rectangle: Single Corner Rounded 8">
              <a:extLst>
                <a:ext uri="{FF2B5EF4-FFF2-40B4-BE49-F238E27FC236}">
                  <a16:creationId xmlns:a16="http://schemas.microsoft.com/office/drawing/2014/main" id="{9CC54BBA-8FD0-2688-1E49-9BD8C6B72012}"/>
                </a:ext>
              </a:extLst>
            </p:cNvPr>
            <p:cNvSpPr/>
            <p:nvPr userDrawn="1"/>
          </p:nvSpPr>
          <p:spPr>
            <a:xfrm rot="10800000">
              <a:off x="8882742" y="-2"/>
              <a:ext cx="3309253" cy="5326742"/>
            </a:xfrm>
            <a:prstGeom prst="round1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161E342-5445-23B5-2174-E835ECA484F5}"/>
                </a:ext>
              </a:extLst>
            </p:cNvPr>
            <p:cNvGrpSpPr/>
            <p:nvPr userDrawn="1"/>
          </p:nvGrpSpPr>
          <p:grpSpPr>
            <a:xfrm flipV="1">
              <a:off x="7038973" y="0"/>
              <a:ext cx="5153025" cy="5441232"/>
              <a:chOff x="5618264" y="-11928"/>
              <a:chExt cx="6573736" cy="6869928"/>
            </a:xfrm>
            <a:solidFill>
              <a:schemeClr val="bg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CDF3103-1171-FF95-236F-6D472C6A50B6}"/>
                  </a:ext>
                </a:extLst>
              </p:cNvPr>
              <p:cNvSpPr/>
              <p:nvPr/>
            </p:nvSpPr>
            <p:spPr>
              <a:xfrm rot="10800000">
                <a:off x="8950152" y="-11928"/>
                <a:ext cx="3241848" cy="6204431"/>
              </a:xfrm>
              <a:custGeom>
                <a:avLst/>
                <a:gdLst>
                  <a:gd name="connsiteX0" fmla="*/ 3006543 w 3006542"/>
                  <a:gd name="connsiteY0" fmla="*/ 5754090 h 5754089"/>
                  <a:gd name="connsiteX1" fmla="*/ 2998380 w 3006542"/>
                  <a:gd name="connsiteY1" fmla="*/ 5754090 h 5754089"/>
                  <a:gd name="connsiteX2" fmla="*/ 2998380 w 3006542"/>
                  <a:gd name="connsiteY2" fmla="*/ 1652547 h 5754089"/>
                  <a:gd name="connsiteX3" fmla="*/ 2604394 w 3006542"/>
                  <a:gd name="connsiteY3" fmla="*/ 1258246 h 5754089"/>
                  <a:gd name="connsiteX4" fmla="*/ 1481453 w 3006542"/>
                  <a:gd name="connsiteY4" fmla="*/ 1258246 h 5754089"/>
                  <a:gd name="connsiteX5" fmla="*/ 1078990 w 3006542"/>
                  <a:gd name="connsiteY5" fmla="*/ 856097 h 5754089"/>
                  <a:gd name="connsiteX6" fmla="*/ 1078990 w 3006542"/>
                  <a:gd name="connsiteY6" fmla="*/ 402149 h 5754089"/>
                  <a:gd name="connsiteX7" fmla="*/ 685003 w 3006542"/>
                  <a:gd name="connsiteY7" fmla="*/ 7848 h 5754089"/>
                  <a:gd name="connsiteX8" fmla="*/ 0 w 3006542"/>
                  <a:gd name="connsiteY8" fmla="*/ 7848 h 5754089"/>
                  <a:gd name="connsiteX9" fmla="*/ 0 w 3006542"/>
                  <a:gd name="connsiteY9" fmla="*/ 0 h 5754089"/>
                  <a:gd name="connsiteX10" fmla="*/ 685003 w 3006542"/>
                  <a:gd name="connsiteY10" fmla="*/ 0 h 5754089"/>
                  <a:gd name="connsiteX11" fmla="*/ 1087152 w 3006542"/>
                  <a:gd name="connsiteY11" fmla="*/ 402149 h 5754089"/>
                  <a:gd name="connsiteX12" fmla="*/ 1087152 w 3006542"/>
                  <a:gd name="connsiteY12" fmla="*/ 856097 h 5754089"/>
                  <a:gd name="connsiteX13" fmla="*/ 1481453 w 3006542"/>
                  <a:gd name="connsiteY13" fmla="*/ 1250398 h 5754089"/>
                  <a:gd name="connsiteX14" fmla="*/ 2604394 w 3006542"/>
                  <a:gd name="connsiteY14" fmla="*/ 1250398 h 5754089"/>
                  <a:gd name="connsiteX15" fmla="*/ 3006543 w 3006542"/>
                  <a:gd name="connsiteY15" fmla="*/ 1652547 h 5754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06542" h="5754089">
                    <a:moveTo>
                      <a:pt x="3006543" y="5754090"/>
                    </a:moveTo>
                    <a:lnTo>
                      <a:pt x="2998380" y="5754090"/>
                    </a:lnTo>
                    <a:lnTo>
                      <a:pt x="2998380" y="1652547"/>
                    </a:lnTo>
                    <a:cubicBezTo>
                      <a:pt x="2998380" y="1435305"/>
                      <a:pt x="2821636" y="1258246"/>
                      <a:pt x="2604394" y="1258246"/>
                    </a:cubicBezTo>
                    <a:lnTo>
                      <a:pt x="1481453" y="1258246"/>
                    </a:lnTo>
                    <a:cubicBezTo>
                      <a:pt x="1259502" y="1258246"/>
                      <a:pt x="1078990" y="1078048"/>
                      <a:pt x="1078990" y="856097"/>
                    </a:cubicBezTo>
                    <a:lnTo>
                      <a:pt x="1078990" y="402149"/>
                    </a:lnTo>
                    <a:cubicBezTo>
                      <a:pt x="1078990" y="184907"/>
                      <a:pt x="902245" y="7848"/>
                      <a:pt x="685003" y="7848"/>
                    </a:cubicBezTo>
                    <a:lnTo>
                      <a:pt x="0" y="7848"/>
                    </a:lnTo>
                    <a:lnTo>
                      <a:pt x="0" y="0"/>
                    </a:lnTo>
                    <a:lnTo>
                      <a:pt x="685003" y="0"/>
                    </a:lnTo>
                    <a:cubicBezTo>
                      <a:pt x="906640" y="0"/>
                      <a:pt x="1087152" y="180512"/>
                      <a:pt x="1087152" y="402149"/>
                    </a:cubicBezTo>
                    <a:lnTo>
                      <a:pt x="1087152" y="856097"/>
                    </a:lnTo>
                    <a:cubicBezTo>
                      <a:pt x="1087152" y="1073653"/>
                      <a:pt x="1263897" y="1250398"/>
                      <a:pt x="1481453" y="1250398"/>
                    </a:cubicBezTo>
                    <a:lnTo>
                      <a:pt x="2604394" y="1250398"/>
                    </a:lnTo>
                    <a:cubicBezTo>
                      <a:pt x="2826031" y="1250398"/>
                      <a:pt x="3006543" y="1430909"/>
                      <a:pt x="3006543" y="1652547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C373495-747F-DDDA-0F34-EA1B349BE78E}"/>
                  </a:ext>
                </a:extLst>
              </p:cNvPr>
              <p:cNvSpPr/>
              <p:nvPr/>
            </p:nvSpPr>
            <p:spPr>
              <a:xfrm rot="10800000">
                <a:off x="9113311" y="5496877"/>
                <a:ext cx="3078689" cy="1361123"/>
              </a:xfrm>
              <a:custGeom>
                <a:avLst/>
                <a:gdLst>
                  <a:gd name="connsiteX0" fmla="*/ 2453078 w 2855226"/>
                  <a:gd name="connsiteY0" fmla="*/ 1262327 h 1262327"/>
                  <a:gd name="connsiteX1" fmla="*/ 0 w 2855226"/>
                  <a:gd name="connsiteY1" fmla="*/ 1262327 h 1262327"/>
                  <a:gd name="connsiteX2" fmla="*/ 0 w 2855226"/>
                  <a:gd name="connsiteY2" fmla="*/ 1254479 h 1262327"/>
                  <a:gd name="connsiteX3" fmla="*/ 2453078 w 2855226"/>
                  <a:gd name="connsiteY3" fmla="*/ 1254479 h 1262327"/>
                  <a:gd name="connsiteX4" fmla="*/ 2847064 w 2855226"/>
                  <a:gd name="connsiteY4" fmla="*/ 860178 h 1262327"/>
                  <a:gd name="connsiteX5" fmla="*/ 2847064 w 2855226"/>
                  <a:gd name="connsiteY5" fmla="*/ 0 h 1262327"/>
                  <a:gd name="connsiteX6" fmla="*/ 2855227 w 2855226"/>
                  <a:gd name="connsiteY6" fmla="*/ 0 h 1262327"/>
                  <a:gd name="connsiteX7" fmla="*/ 2855227 w 2855226"/>
                  <a:gd name="connsiteY7" fmla="*/ 860178 h 1262327"/>
                  <a:gd name="connsiteX8" fmla="*/ 2453078 w 2855226"/>
                  <a:gd name="connsiteY8" fmla="*/ 1262327 h 12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5226" h="1262327">
                    <a:moveTo>
                      <a:pt x="2453078" y="1262327"/>
                    </a:moveTo>
                    <a:lnTo>
                      <a:pt x="0" y="1262327"/>
                    </a:lnTo>
                    <a:lnTo>
                      <a:pt x="0" y="1254479"/>
                    </a:lnTo>
                    <a:lnTo>
                      <a:pt x="2453078" y="1254479"/>
                    </a:lnTo>
                    <a:cubicBezTo>
                      <a:pt x="2670320" y="1254479"/>
                      <a:pt x="2847064" y="1077420"/>
                      <a:pt x="2847064" y="860178"/>
                    </a:cubicBezTo>
                    <a:lnTo>
                      <a:pt x="2847064" y="0"/>
                    </a:lnTo>
                    <a:lnTo>
                      <a:pt x="2855227" y="0"/>
                    </a:lnTo>
                    <a:lnTo>
                      <a:pt x="2855227" y="860178"/>
                    </a:lnTo>
                    <a:cubicBezTo>
                      <a:pt x="2855227" y="1081815"/>
                      <a:pt x="2674715" y="1262327"/>
                      <a:pt x="2453078" y="1262327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CBE834E-29AA-C502-5899-AD89832513BA}"/>
                  </a:ext>
                </a:extLst>
              </p:cNvPr>
              <p:cNvSpPr/>
              <p:nvPr/>
            </p:nvSpPr>
            <p:spPr>
              <a:xfrm rot="10800000">
                <a:off x="5674117" y="4354767"/>
                <a:ext cx="4366694" cy="2503233"/>
              </a:xfrm>
              <a:custGeom>
                <a:avLst/>
                <a:gdLst>
                  <a:gd name="connsiteX0" fmla="*/ 4049744 w 4049743"/>
                  <a:gd name="connsiteY0" fmla="*/ 2321539 h 2321539"/>
                  <a:gd name="connsiteX1" fmla="*/ 2600312 w 4049743"/>
                  <a:gd name="connsiteY1" fmla="*/ 2321539 h 2321539"/>
                  <a:gd name="connsiteX2" fmla="*/ 2198164 w 4049743"/>
                  <a:gd name="connsiteY2" fmla="*/ 1919390 h 2321539"/>
                  <a:gd name="connsiteX3" fmla="*/ 2198164 w 4049743"/>
                  <a:gd name="connsiteY3" fmla="*/ 1146800 h 2321539"/>
                  <a:gd name="connsiteX4" fmla="*/ 1803863 w 4049743"/>
                  <a:gd name="connsiteY4" fmla="*/ 752499 h 2321539"/>
                  <a:gd name="connsiteX5" fmla="*/ 402149 w 4049743"/>
                  <a:gd name="connsiteY5" fmla="*/ 752499 h 2321539"/>
                  <a:gd name="connsiteX6" fmla="*/ 0 w 4049743"/>
                  <a:gd name="connsiteY6" fmla="*/ 350350 h 2321539"/>
                  <a:gd name="connsiteX7" fmla="*/ 0 w 4049743"/>
                  <a:gd name="connsiteY7" fmla="*/ 0 h 2321539"/>
                  <a:gd name="connsiteX8" fmla="*/ 7848 w 4049743"/>
                  <a:gd name="connsiteY8" fmla="*/ 0 h 2321539"/>
                  <a:gd name="connsiteX9" fmla="*/ 7848 w 4049743"/>
                  <a:gd name="connsiteY9" fmla="*/ 350350 h 2321539"/>
                  <a:gd name="connsiteX10" fmla="*/ 402149 w 4049743"/>
                  <a:gd name="connsiteY10" fmla="*/ 744651 h 2321539"/>
                  <a:gd name="connsiteX11" fmla="*/ 1803863 w 4049743"/>
                  <a:gd name="connsiteY11" fmla="*/ 744651 h 2321539"/>
                  <a:gd name="connsiteX12" fmla="*/ 2206012 w 4049743"/>
                  <a:gd name="connsiteY12" fmla="*/ 1146800 h 2321539"/>
                  <a:gd name="connsiteX13" fmla="*/ 2206012 w 4049743"/>
                  <a:gd name="connsiteY13" fmla="*/ 1919390 h 2321539"/>
                  <a:gd name="connsiteX14" fmla="*/ 2600312 w 4049743"/>
                  <a:gd name="connsiteY14" fmla="*/ 2313691 h 2321539"/>
                  <a:gd name="connsiteX15" fmla="*/ 4049744 w 4049743"/>
                  <a:gd name="connsiteY15" fmla="*/ 2313691 h 2321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049743" h="2321539">
                    <a:moveTo>
                      <a:pt x="4049744" y="2321539"/>
                    </a:moveTo>
                    <a:lnTo>
                      <a:pt x="2600312" y="2321539"/>
                    </a:lnTo>
                    <a:cubicBezTo>
                      <a:pt x="2378675" y="2321539"/>
                      <a:pt x="2198164" y="2141028"/>
                      <a:pt x="2198164" y="1919390"/>
                    </a:cubicBezTo>
                    <a:lnTo>
                      <a:pt x="2198164" y="1146800"/>
                    </a:lnTo>
                    <a:cubicBezTo>
                      <a:pt x="2198164" y="929557"/>
                      <a:pt x="2021105" y="752499"/>
                      <a:pt x="1803863" y="752499"/>
                    </a:cubicBezTo>
                    <a:lnTo>
                      <a:pt x="402149" y="752499"/>
                    </a:lnTo>
                    <a:cubicBezTo>
                      <a:pt x="180512" y="752499"/>
                      <a:pt x="0" y="572301"/>
                      <a:pt x="0" y="350350"/>
                    </a:cubicBezTo>
                    <a:lnTo>
                      <a:pt x="0" y="0"/>
                    </a:lnTo>
                    <a:lnTo>
                      <a:pt x="7848" y="0"/>
                    </a:lnTo>
                    <a:lnTo>
                      <a:pt x="7848" y="350350"/>
                    </a:lnTo>
                    <a:cubicBezTo>
                      <a:pt x="7848" y="567906"/>
                      <a:pt x="184907" y="744651"/>
                      <a:pt x="402149" y="744651"/>
                    </a:cubicBezTo>
                    <a:lnTo>
                      <a:pt x="1803863" y="744651"/>
                    </a:lnTo>
                    <a:cubicBezTo>
                      <a:pt x="2025500" y="744651"/>
                      <a:pt x="2206012" y="925162"/>
                      <a:pt x="2206012" y="1146800"/>
                    </a:cubicBezTo>
                    <a:lnTo>
                      <a:pt x="2206012" y="1919390"/>
                    </a:lnTo>
                    <a:cubicBezTo>
                      <a:pt x="2206012" y="2136632"/>
                      <a:pt x="2383071" y="2313691"/>
                      <a:pt x="2600312" y="2313691"/>
                    </a:cubicBezTo>
                    <a:lnTo>
                      <a:pt x="4049744" y="2313691"/>
                    </a:ln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D47E780-AC5E-430D-35D6-40B89E8A3A3D}"/>
                  </a:ext>
                </a:extLst>
              </p:cNvPr>
              <p:cNvSpPr/>
              <p:nvPr/>
            </p:nvSpPr>
            <p:spPr>
              <a:xfrm rot="10800000">
                <a:off x="10496098" y="-11928"/>
                <a:ext cx="1695902" cy="1747355"/>
              </a:xfrm>
              <a:custGeom>
                <a:avLst/>
                <a:gdLst>
                  <a:gd name="connsiteX0" fmla="*/ 1572808 w 1572807"/>
                  <a:gd name="connsiteY0" fmla="*/ 1620525 h 1620525"/>
                  <a:gd name="connsiteX1" fmla="*/ 1564959 w 1572807"/>
                  <a:gd name="connsiteY1" fmla="*/ 1620525 h 1620525"/>
                  <a:gd name="connsiteX2" fmla="*/ 1564959 w 1572807"/>
                  <a:gd name="connsiteY2" fmla="*/ 402149 h 1620525"/>
                  <a:gd name="connsiteX3" fmla="*/ 1170659 w 1572807"/>
                  <a:gd name="connsiteY3" fmla="*/ 7848 h 1620525"/>
                  <a:gd name="connsiteX4" fmla="*/ 0 w 1572807"/>
                  <a:gd name="connsiteY4" fmla="*/ 7848 h 1620525"/>
                  <a:gd name="connsiteX5" fmla="*/ 0 w 1572807"/>
                  <a:gd name="connsiteY5" fmla="*/ 0 h 1620525"/>
                  <a:gd name="connsiteX6" fmla="*/ 1170659 w 1572807"/>
                  <a:gd name="connsiteY6" fmla="*/ 0 h 1620525"/>
                  <a:gd name="connsiteX7" fmla="*/ 1572808 w 1572807"/>
                  <a:gd name="connsiteY7" fmla="*/ 402149 h 162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2807" h="1620525">
                    <a:moveTo>
                      <a:pt x="1572808" y="1620525"/>
                    </a:moveTo>
                    <a:lnTo>
                      <a:pt x="1564959" y="1620525"/>
                    </a:lnTo>
                    <a:lnTo>
                      <a:pt x="1564959" y="402149"/>
                    </a:lnTo>
                    <a:cubicBezTo>
                      <a:pt x="1564959" y="184593"/>
                      <a:pt x="1388215" y="7848"/>
                      <a:pt x="1170659" y="7848"/>
                    </a:cubicBezTo>
                    <a:lnTo>
                      <a:pt x="0" y="7848"/>
                    </a:lnTo>
                    <a:lnTo>
                      <a:pt x="0" y="0"/>
                    </a:lnTo>
                    <a:lnTo>
                      <a:pt x="1170659" y="0"/>
                    </a:lnTo>
                    <a:cubicBezTo>
                      <a:pt x="1392610" y="0"/>
                      <a:pt x="1572808" y="180198"/>
                      <a:pt x="1572808" y="402149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E2AA3D95-8961-47B7-CAA1-D6F51B24134A}"/>
                  </a:ext>
                </a:extLst>
              </p:cNvPr>
              <p:cNvSpPr/>
              <p:nvPr/>
            </p:nvSpPr>
            <p:spPr>
              <a:xfrm rot="10800000">
                <a:off x="8709816" y="6012082"/>
                <a:ext cx="77179" cy="77516"/>
              </a:xfrm>
              <a:custGeom>
                <a:avLst/>
                <a:gdLst>
                  <a:gd name="connsiteX0" fmla="*/ 71577 w 71577"/>
                  <a:gd name="connsiteY0" fmla="*/ 36102 h 71890"/>
                  <a:gd name="connsiteX1" fmla="*/ 35789 w 71577"/>
                  <a:gd name="connsiteY1" fmla="*/ 71891 h 71890"/>
                  <a:gd name="connsiteX2" fmla="*/ 0 w 71577"/>
                  <a:gd name="connsiteY2" fmla="*/ 36102 h 71890"/>
                  <a:gd name="connsiteX3" fmla="*/ 35789 w 71577"/>
                  <a:gd name="connsiteY3" fmla="*/ 0 h 71890"/>
                  <a:gd name="connsiteX4" fmla="*/ 71577 w 71577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7" h="71890">
                    <a:moveTo>
                      <a:pt x="71577" y="36102"/>
                    </a:moveTo>
                    <a:cubicBezTo>
                      <a:pt x="71577" y="55880"/>
                      <a:pt x="55566" y="71891"/>
                      <a:pt x="35789" y="71891"/>
                    </a:cubicBezTo>
                    <a:cubicBezTo>
                      <a:pt x="16011" y="71891"/>
                      <a:pt x="0" y="55880"/>
                      <a:pt x="0" y="36102"/>
                    </a:cubicBezTo>
                    <a:cubicBezTo>
                      <a:pt x="0" y="16325"/>
                      <a:pt x="16011" y="0"/>
                      <a:pt x="35789" y="0"/>
                    </a:cubicBezTo>
                    <a:cubicBezTo>
                      <a:pt x="55566" y="0"/>
                      <a:pt x="71577" y="16325"/>
                      <a:pt x="71577" y="36102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8C39664-011E-D51D-069E-845B41EEB937}"/>
                  </a:ext>
                </a:extLst>
              </p:cNvPr>
              <p:cNvSpPr/>
              <p:nvPr/>
            </p:nvSpPr>
            <p:spPr>
              <a:xfrm rot="10800000">
                <a:off x="10289951" y="5462690"/>
                <a:ext cx="77178" cy="77178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9 w 71576"/>
                  <a:gd name="connsiteY1" fmla="*/ 71577 h 71576"/>
                  <a:gd name="connsiteX2" fmla="*/ 0 w 71576"/>
                  <a:gd name="connsiteY2" fmla="*/ 35788 h 71576"/>
                  <a:gd name="connsiteX3" fmla="*/ 35789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9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9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D1235A7-1CFC-16FE-850F-88B3EA693D26}"/>
                  </a:ext>
                </a:extLst>
              </p:cNvPr>
              <p:cNvSpPr/>
              <p:nvPr/>
            </p:nvSpPr>
            <p:spPr>
              <a:xfrm rot="10800000">
                <a:off x="8915965" y="686503"/>
                <a:ext cx="77178" cy="77178"/>
              </a:xfrm>
              <a:custGeom>
                <a:avLst/>
                <a:gdLst>
                  <a:gd name="connsiteX0" fmla="*/ 71577 w 71576"/>
                  <a:gd name="connsiteY0" fmla="*/ 35788 h 71576"/>
                  <a:gd name="connsiteX1" fmla="*/ 35788 w 71576"/>
                  <a:gd name="connsiteY1" fmla="*/ 71577 h 71576"/>
                  <a:gd name="connsiteX2" fmla="*/ 0 w 71576"/>
                  <a:gd name="connsiteY2" fmla="*/ 35788 h 71576"/>
                  <a:gd name="connsiteX3" fmla="*/ 35788 w 71576"/>
                  <a:gd name="connsiteY3" fmla="*/ 0 h 71576"/>
                  <a:gd name="connsiteX4" fmla="*/ 71577 w 71576"/>
                  <a:gd name="connsiteY4" fmla="*/ 35788 h 7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576">
                    <a:moveTo>
                      <a:pt x="71577" y="35788"/>
                    </a:moveTo>
                    <a:cubicBezTo>
                      <a:pt x="71577" y="55566"/>
                      <a:pt x="55566" y="71577"/>
                      <a:pt x="35788" y="71577"/>
                    </a:cubicBezTo>
                    <a:cubicBezTo>
                      <a:pt x="16011" y="71577"/>
                      <a:pt x="0" y="55566"/>
                      <a:pt x="0" y="35788"/>
                    </a:cubicBezTo>
                    <a:cubicBezTo>
                      <a:pt x="0" y="16011"/>
                      <a:pt x="16011" y="0"/>
                      <a:pt x="35788" y="0"/>
                    </a:cubicBezTo>
                    <a:cubicBezTo>
                      <a:pt x="55566" y="0"/>
                      <a:pt x="71577" y="16011"/>
                      <a:pt x="71577" y="35788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533B0EB6-9415-6887-804E-161020A5F296}"/>
                  </a:ext>
                </a:extLst>
              </p:cNvPr>
              <p:cNvSpPr/>
              <p:nvPr/>
            </p:nvSpPr>
            <p:spPr>
              <a:xfrm rot="10800000">
                <a:off x="10461572" y="524600"/>
                <a:ext cx="77178" cy="77516"/>
              </a:xfrm>
              <a:custGeom>
                <a:avLst/>
                <a:gdLst>
                  <a:gd name="connsiteX0" fmla="*/ 71577 w 71576"/>
                  <a:gd name="connsiteY0" fmla="*/ 36102 h 71890"/>
                  <a:gd name="connsiteX1" fmla="*/ 35788 w 71576"/>
                  <a:gd name="connsiteY1" fmla="*/ 71890 h 71890"/>
                  <a:gd name="connsiteX2" fmla="*/ 0 w 71576"/>
                  <a:gd name="connsiteY2" fmla="*/ 36102 h 71890"/>
                  <a:gd name="connsiteX3" fmla="*/ 35788 w 71576"/>
                  <a:gd name="connsiteY3" fmla="*/ 0 h 71890"/>
                  <a:gd name="connsiteX4" fmla="*/ 71577 w 71576"/>
                  <a:gd name="connsiteY4" fmla="*/ 36102 h 7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76" h="71890">
                    <a:moveTo>
                      <a:pt x="71577" y="36102"/>
                    </a:moveTo>
                    <a:cubicBezTo>
                      <a:pt x="71577" y="55880"/>
                      <a:pt x="55566" y="71890"/>
                      <a:pt x="35788" y="71890"/>
                    </a:cubicBezTo>
                    <a:cubicBezTo>
                      <a:pt x="16011" y="71890"/>
                      <a:pt x="0" y="55880"/>
                      <a:pt x="0" y="36102"/>
                    </a:cubicBezTo>
                    <a:cubicBezTo>
                      <a:pt x="0" y="16324"/>
                      <a:pt x="16011" y="0"/>
                      <a:pt x="35788" y="0"/>
                    </a:cubicBezTo>
                    <a:cubicBezTo>
                      <a:pt x="55566" y="0"/>
                      <a:pt x="71577" y="16324"/>
                      <a:pt x="71577" y="36102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C0342E1-3D79-3066-DFCD-75371E0B4448}"/>
                  </a:ext>
                </a:extLst>
              </p:cNvPr>
              <p:cNvSpPr/>
              <p:nvPr userDrawn="1"/>
            </p:nvSpPr>
            <p:spPr>
              <a:xfrm rot="10800000">
                <a:off x="5618264" y="4298914"/>
                <a:ext cx="111706" cy="111706"/>
              </a:xfrm>
              <a:custGeom>
                <a:avLst/>
                <a:gdLst>
                  <a:gd name="connsiteX0" fmla="*/ 103598 w 103598"/>
                  <a:gd name="connsiteY0" fmla="*/ 51799 h 103598"/>
                  <a:gd name="connsiteX1" fmla="*/ 51799 w 103598"/>
                  <a:gd name="connsiteY1" fmla="*/ 103598 h 103598"/>
                  <a:gd name="connsiteX2" fmla="*/ 0 w 103598"/>
                  <a:gd name="connsiteY2" fmla="*/ 51799 h 103598"/>
                  <a:gd name="connsiteX3" fmla="*/ 51799 w 103598"/>
                  <a:gd name="connsiteY3" fmla="*/ 0 h 103598"/>
                  <a:gd name="connsiteX4" fmla="*/ 103598 w 103598"/>
                  <a:gd name="connsiteY4" fmla="*/ 51799 h 10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98" h="103598">
                    <a:moveTo>
                      <a:pt x="103598" y="51799"/>
                    </a:moveTo>
                    <a:cubicBezTo>
                      <a:pt x="103598" y="80367"/>
                      <a:pt x="80367" y="103598"/>
                      <a:pt x="51799" y="103598"/>
                    </a:cubicBezTo>
                    <a:cubicBezTo>
                      <a:pt x="23231" y="103598"/>
                      <a:pt x="0" y="80367"/>
                      <a:pt x="0" y="51799"/>
                    </a:cubicBezTo>
                    <a:cubicBezTo>
                      <a:pt x="0" y="23231"/>
                      <a:pt x="23231" y="0"/>
                      <a:pt x="51799" y="0"/>
                    </a:cubicBezTo>
                    <a:cubicBezTo>
                      <a:pt x="80367" y="0"/>
                      <a:pt x="103598" y="23231"/>
                      <a:pt x="103598" y="51799"/>
                    </a:cubicBezTo>
                    <a:close/>
                  </a:path>
                </a:pathLst>
              </a:custGeom>
              <a:grpFill/>
              <a:ln w="3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4696569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469656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BD31EA8-F325-B80A-05FF-4389291E3FF2}"/>
              </a:ext>
            </a:extLst>
          </p:cNvPr>
          <p:cNvGrpSpPr/>
          <p:nvPr userDrawn="1"/>
        </p:nvGrpSpPr>
        <p:grpSpPr>
          <a:xfrm>
            <a:off x="5210917" y="1133681"/>
            <a:ext cx="3505200" cy="5724319"/>
            <a:chOff x="4705350" y="1133681"/>
            <a:chExt cx="3505200" cy="5724319"/>
          </a:xfrm>
        </p:grpSpPr>
        <p:pic>
          <p:nvPicPr>
            <p:cNvPr id="5" name="Picture 4" descr="A picture containing text, person, holding, hand&#10;&#10;Description automatically generated">
              <a:extLst>
                <a:ext uri="{FF2B5EF4-FFF2-40B4-BE49-F238E27FC236}">
                  <a16:creationId xmlns:a16="http://schemas.microsoft.com/office/drawing/2014/main" id="{6836206C-3748-A07C-5863-C1F7C330FF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2" t="36944" r="15925"/>
            <a:stretch/>
          </p:blipFill>
          <p:spPr>
            <a:xfrm>
              <a:off x="4705350" y="1133681"/>
              <a:ext cx="3505200" cy="572431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93FEE2-7D29-31D2-7978-0D0212DA8106}"/>
                </a:ext>
              </a:extLst>
            </p:cNvPr>
            <p:cNvSpPr/>
            <p:nvPr/>
          </p:nvSpPr>
          <p:spPr>
            <a:xfrm>
              <a:off x="5473700" y="1612900"/>
              <a:ext cx="1758950" cy="3149600"/>
            </a:xfrm>
            <a:prstGeom prst="rect">
              <a:avLst/>
            </a:prstGeom>
            <a:blipFill>
              <a:blip r:embed="rId6"/>
              <a:stretch>
                <a:fillRect l="-160260" t="-4383" r="-42186" b="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</p:grp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8E9B541-0F31-B8F3-BA60-198733424B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78525" y="1612899"/>
            <a:ext cx="1758950" cy="31495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4462338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41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483696"/>
            <a:ext cx="726559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137046"/>
            <a:ext cx="726559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BD31EA8-F325-B80A-05FF-4389291E3FF2}"/>
              </a:ext>
            </a:extLst>
          </p:cNvPr>
          <p:cNvGrpSpPr/>
          <p:nvPr userDrawn="1"/>
        </p:nvGrpSpPr>
        <p:grpSpPr>
          <a:xfrm>
            <a:off x="7779946" y="1133681"/>
            <a:ext cx="3505200" cy="5724319"/>
            <a:chOff x="4705350" y="1133681"/>
            <a:chExt cx="3505200" cy="5724319"/>
          </a:xfrm>
        </p:grpSpPr>
        <p:pic>
          <p:nvPicPr>
            <p:cNvPr id="5" name="Picture 4" descr="A picture containing text, person, holding, hand&#10;&#10;Description automatically generated">
              <a:extLst>
                <a:ext uri="{FF2B5EF4-FFF2-40B4-BE49-F238E27FC236}">
                  <a16:creationId xmlns:a16="http://schemas.microsoft.com/office/drawing/2014/main" id="{6836206C-3748-A07C-5863-C1F7C330FF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2" t="36944" r="15925"/>
            <a:stretch/>
          </p:blipFill>
          <p:spPr>
            <a:xfrm>
              <a:off x="4705350" y="1133681"/>
              <a:ext cx="3505200" cy="572431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93FEE2-7D29-31D2-7978-0D0212DA8106}"/>
                </a:ext>
              </a:extLst>
            </p:cNvPr>
            <p:cNvSpPr/>
            <p:nvPr/>
          </p:nvSpPr>
          <p:spPr>
            <a:xfrm>
              <a:off x="5473700" y="1612900"/>
              <a:ext cx="1758950" cy="3149600"/>
            </a:xfrm>
            <a:prstGeom prst="rect">
              <a:avLst/>
            </a:prstGeom>
            <a:blipFill>
              <a:blip r:embed="rId6"/>
              <a:stretch>
                <a:fillRect l="-160260" t="-4383" r="-42186" b="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</p:grp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9DA7780E-487C-A465-ECFB-29D9E9CDA4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48296" y="1612899"/>
            <a:ext cx="1758950" cy="31495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066935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2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270F110A-BF4E-75C6-AC72-AF7E5816C3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4119448" y="1160653"/>
            <a:ext cx="7865820" cy="4686603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1E6A8143-6F08-E7F1-A9EC-A20D508E4636}"/>
              </a:ext>
            </a:extLst>
          </p:cNvPr>
          <p:cNvSpPr/>
          <p:nvPr userDrawn="1"/>
        </p:nvSpPr>
        <p:spPr>
          <a:xfrm>
            <a:off x="4895850" y="1411605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F58261-8974-A132-1B69-C53B0D4F428C}"/>
              </a:ext>
            </a:extLst>
          </p:cNvPr>
          <p:cNvSpPr/>
          <p:nvPr userDrawn="1"/>
        </p:nvSpPr>
        <p:spPr>
          <a:xfrm>
            <a:off x="5029202" y="1598930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7305952-FA12-1AD2-88F0-CCE65A7B6F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29203" y="1598930"/>
            <a:ext cx="6070594" cy="3831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983016-C91F-A896-0BB3-D04F51611D16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C1FA646-41D8-2487-D53A-4D6D0CA1F0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8" y="1758255"/>
            <a:ext cx="3642949" cy="408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073F472E-6227-5FD5-A5FF-9DB7E6C329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11604"/>
            <a:ext cx="3642949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22BABFAB-A453-8E98-BA16-5572F5F28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8C41891-DF6E-9C20-4248-368FFFAB04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06125DD-3EEB-AC42-056B-93A251C98B8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E7A5429F-841D-5E00-95F6-1F97281257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61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497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Single Corner Rounded 6">
            <a:extLst>
              <a:ext uri="{FF2B5EF4-FFF2-40B4-BE49-F238E27FC236}">
                <a16:creationId xmlns:a16="http://schemas.microsoft.com/office/drawing/2014/main" id="{CC14715C-17D1-F01B-6EE1-5D2B5EDD17C7}"/>
              </a:ext>
            </a:extLst>
          </p:cNvPr>
          <p:cNvSpPr/>
          <p:nvPr userDrawn="1"/>
        </p:nvSpPr>
        <p:spPr>
          <a:xfrm flipH="1">
            <a:off x="6324600" y="3581400"/>
            <a:ext cx="5856288" cy="3276600"/>
          </a:xfrm>
          <a:prstGeom prst="round1Rect">
            <a:avLst>
              <a:gd name="adj" fmla="val 331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BB9544-E2E0-3074-F79B-44A99F8CF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6770472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8110FEE6-464A-5A14-3274-0BEE28378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25425"/>
            <a:ext cx="6770472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808D9D33-F6A7-00D0-4FA6-6474E42F44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83697"/>
            <a:ext cx="5562603" cy="4089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3E17D0B-E5BD-9DE9-A1CE-08A3C61895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8" y="1137046"/>
            <a:ext cx="5562603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1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84738A6B-32EE-FC80-F4F9-5C7907A486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7AC7B593-E9DC-C74A-EAC4-B51970A5C4CE}"/>
              </a:ext>
            </a:extLst>
          </p:cNvPr>
          <p:cNvGrpSpPr/>
          <p:nvPr userDrawn="1"/>
        </p:nvGrpSpPr>
        <p:grpSpPr>
          <a:xfrm rot="5400000" flipV="1">
            <a:off x="6676232" y="1365140"/>
            <a:ext cx="5153025" cy="5856286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8F05EF2-60D4-747F-DAE1-410E911D72BE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04275D-1011-622A-971E-1470E31A7910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56FB8CD-A2B0-9D04-D0C5-A3D1B010A50A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06D23E9-50D7-46F6-FA21-6DD96861613F}"/>
                </a:ext>
              </a:extLst>
            </p:cNvPr>
            <p:cNvSpPr/>
            <p:nvPr/>
          </p:nvSpPr>
          <p:spPr>
            <a:xfrm rot="10800000">
              <a:off x="8915965" y="686503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D836B49-D371-D678-86F4-7BAF3B9C8718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814BCD4-081B-A6FE-C74E-85ECB23793A0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A811939-2907-A520-BACC-7D391A9FDD01}"/>
              </a:ext>
            </a:extLst>
          </p:cNvPr>
          <p:cNvSpPr/>
          <p:nvPr userDrawn="1"/>
        </p:nvSpPr>
        <p:spPr>
          <a:xfrm rot="16200000" flipV="1">
            <a:off x="7386169" y="3267005"/>
            <a:ext cx="2541222" cy="4664360"/>
          </a:xfrm>
          <a:custGeom>
            <a:avLst/>
            <a:gdLst>
              <a:gd name="connsiteX0" fmla="*/ 3006543 w 3006542"/>
              <a:gd name="connsiteY0" fmla="*/ 5754090 h 5754089"/>
              <a:gd name="connsiteX1" fmla="*/ 2998380 w 3006542"/>
              <a:gd name="connsiteY1" fmla="*/ 5754090 h 5754089"/>
              <a:gd name="connsiteX2" fmla="*/ 2998380 w 3006542"/>
              <a:gd name="connsiteY2" fmla="*/ 1652547 h 5754089"/>
              <a:gd name="connsiteX3" fmla="*/ 2604394 w 3006542"/>
              <a:gd name="connsiteY3" fmla="*/ 1258246 h 5754089"/>
              <a:gd name="connsiteX4" fmla="*/ 1481453 w 3006542"/>
              <a:gd name="connsiteY4" fmla="*/ 1258246 h 5754089"/>
              <a:gd name="connsiteX5" fmla="*/ 1078990 w 3006542"/>
              <a:gd name="connsiteY5" fmla="*/ 856097 h 5754089"/>
              <a:gd name="connsiteX6" fmla="*/ 1078990 w 3006542"/>
              <a:gd name="connsiteY6" fmla="*/ 402149 h 5754089"/>
              <a:gd name="connsiteX7" fmla="*/ 685003 w 3006542"/>
              <a:gd name="connsiteY7" fmla="*/ 7848 h 5754089"/>
              <a:gd name="connsiteX8" fmla="*/ 0 w 3006542"/>
              <a:gd name="connsiteY8" fmla="*/ 7848 h 5754089"/>
              <a:gd name="connsiteX9" fmla="*/ 0 w 3006542"/>
              <a:gd name="connsiteY9" fmla="*/ 0 h 5754089"/>
              <a:gd name="connsiteX10" fmla="*/ 685003 w 3006542"/>
              <a:gd name="connsiteY10" fmla="*/ 0 h 5754089"/>
              <a:gd name="connsiteX11" fmla="*/ 1087152 w 3006542"/>
              <a:gd name="connsiteY11" fmla="*/ 402149 h 5754089"/>
              <a:gd name="connsiteX12" fmla="*/ 1087152 w 3006542"/>
              <a:gd name="connsiteY12" fmla="*/ 856097 h 5754089"/>
              <a:gd name="connsiteX13" fmla="*/ 1481453 w 3006542"/>
              <a:gd name="connsiteY13" fmla="*/ 1250398 h 5754089"/>
              <a:gd name="connsiteX14" fmla="*/ 2604394 w 3006542"/>
              <a:gd name="connsiteY14" fmla="*/ 1250398 h 5754089"/>
              <a:gd name="connsiteX15" fmla="*/ 3006543 w 3006542"/>
              <a:gd name="connsiteY15" fmla="*/ 1652547 h 5754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006542" h="5754089">
                <a:moveTo>
                  <a:pt x="3006543" y="5754090"/>
                </a:moveTo>
                <a:lnTo>
                  <a:pt x="2998380" y="5754090"/>
                </a:lnTo>
                <a:lnTo>
                  <a:pt x="2998380" y="1652547"/>
                </a:lnTo>
                <a:cubicBezTo>
                  <a:pt x="2998380" y="1435305"/>
                  <a:pt x="2821636" y="1258246"/>
                  <a:pt x="2604394" y="1258246"/>
                </a:cubicBezTo>
                <a:lnTo>
                  <a:pt x="1481453" y="1258246"/>
                </a:lnTo>
                <a:cubicBezTo>
                  <a:pt x="1259502" y="1258246"/>
                  <a:pt x="1078990" y="1078048"/>
                  <a:pt x="1078990" y="856097"/>
                </a:cubicBezTo>
                <a:lnTo>
                  <a:pt x="1078990" y="402149"/>
                </a:lnTo>
                <a:cubicBezTo>
                  <a:pt x="1078990" y="184907"/>
                  <a:pt x="902245" y="7848"/>
                  <a:pt x="685003" y="7848"/>
                </a:cubicBezTo>
                <a:lnTo>
                  <a:pt x="0" y="7848"/>
                </a:lnTo>
                <a:lnTo>
                  <a:pt x="0" y="0"/>
                </a:lnTo>
                <a:lnTo>
                  <a:pt x="685003" y="0"/>
                </a:lnTo>
                <a:cubicBezTo>
                  <a:pt x="906640" y="0"/>
                  <a:pt x="1087152" y="180512"/>
                  <a:pt x="1087152" y="402149"/>
                </a:cubicBezTo>
                <a:lnTo>
                  <a:pt x="1087152" y="856097"/>
                </a:lnTo>
                <a:cubicBezTo>
                  <a:pt x="1087152" y="1073653"/>
                  <a:pt x="1263897" y="1250398"/>
                  <a:pt x="1481453" y="1250398"/>
                </a:cubicBezTo>
                <a:lnTo>
                  <a:pt x="2604394" y="1250398"/>
                </a:lnTo>
                <a:cubicBezTo>
                  <a:pt x="2826031" y="1250398"/>
                  <a:pt x="3006543" y="1430909"/>
                  <a:pt x="3006543" y="1652547"/>
                </a:cubicBezTo>
                <a:close/>
              </a:path>
            </a:pathLst>
          </a:custGeom>
          <a:solidFill>
            <a:schemeClr val="bg1"/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45" name="Picture 44" descr="Logo&#10;&#10;Description automatically generated with medium confidence">
            <a:extLst>
              <a:ext uri="{FF2B5EF4-FFF2-40B4-BE49-F238E27FC236}">
                <a16:creationId xmlns:a16="http://schemas.microsoft.com/office/drawing/2014/main" id="{D338C1D1-9AAB-C18D-408A-E863110E0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0" t="42155" r="72008" b="21499"/>
          <a:stretch/>
        </p:blipFill>
        <p:spPr>
          <a:xfrm>
            <a:off x="6670270" y="-127000"/>
            <a:ext cx="5296245" cy="6451601"/>
          </a:xfrm>
          <a:prstGeom prst="rect">
            <a:avLst/>
          </a:prstGeom>
        </p:spPr>
      </p:pic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5D33340E-8A1E-7784-706B-B1724540AD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2468" y="418193"/>
            <a:ext cx="3694331" cy="5576207"/>
          </a:xfrm>
          <a:prstGeom prst="roundRect">
            <a:avLst>
              <a:gd name="adj" fmla="val 4260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id="{4F374501-B2A1-74D3-FA05-9D94B47A328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8" name="Foliennummernplatzhalter 3">
            <a:extLst>
              <a:ext uri="{FF2B5EF4-FFF2-40B4-BE49-F238E27FC236}">
                <a16:creationId xmlns:a16="http://schemas.microsoft.com/office/drawing/2014/main" id="{03FCEE5E-DF24-C5E2-47DC-C0DA551D9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851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473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37569F0-1FA7-C768-45DD-29D6C624AF6B}"/>
              </a:ext>
            </a:extLst>
          </p:cNvPr>
          <p:cNvGrpSpPr/>
          <p:nvPr userDrawn="1"/>
        </p:nvGrpSpPr>
        <p:grpSpPr>
          <a:xfrm>
            <a:off x="-32728" y="8563"/>
            <a:ext cx="3162089" cy="4565639"/>
            <a:chOff x="7607475" y="8563"/>
            <a:chExt cx="3162089" cy="4565639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5655FBE5-0223-738C-98DF-6EEC9BFAF1ED}"/>
                </a:ext>
              </a:extLst>
            </p:cNvPr>
            <p:cNvGrpSpPr/>
            <p:nvPr userDrawn="1"/>
          </p:nvGrpSpPr>
          <p:grpSpPr>
            <a:xfrm>
              <a:off x="7629800" y="2232760"/>
              <a:ext cx="3139764" cy="2341442"/>
              <a:chOff x="7629800" y="2232760"/>
              <a:chExt cx="3139764" cy="2341442"/>
            </a:xfrm>
          </p:grpSpPr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E02C8E91-A350-D4E8-E6A6-664320A405A0}"/>
                  </a:ext>
                </a:extLst>
              </p:cNvPr>
              <p:cNvGrpSpPr/>
              <p:nvPr userDrawn="1"/>
            </p:nvGrpSpPr>
            <p:grpSpPr>
              <a:xfrm>
                <a:off x="7629800" y="2310218"/>
                <a:ext cx="3045703" cy="2263984"/>
                <a:chOff x="7642044" y="2322588"/>
                <a:chExt cx="3045703" cy="2263984"/>
              </a:xfrm>
              <a:noFill/>
            </p:grpSpPr>
            <p:sp>
              <p:nvSpPr>
                <p:cNvPr id="156" name="Arc 155">
                  <a:extLst>
                    <a:ext uri="{FF2B5EF4-FFF2-40B4-BE49-F238E27FC236}">
                      <a16:creationId xmlns:a16="http://schemas.microsoft.com/office/drawing/2014/main" id="{0C582FF9-078B-AF58-A9B2-55E13A5EC23B}"/>
                    </a:ext>
                  </a:extLst>
                </p:cNvPr>
                <p:cNvSpPr/>
                <p:nvPr userDrawn="1"/>
              </p:nvSpPr>
              <p:spPr>
                <a:xfrm rot="16200000">
                  <a:off x="7642044" y="2323885"/>
                  <a:ext cx="2262687" cy="2262687"/>
                </a:xfrm>
                <a:prstGeom prst="arc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05DAA92C-0144-3045-5672-95EEFB5419D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8757578" y="2322588"/>
                  <a:ext cx="1930169" cy="0"/>
                </a:xfrm>
                <a:prstGeom prst="line">
                  <a:avLst/>
                </a:prstGeom>
                <a:grpFill/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D80F987A-1CCD-7AC7-0DD8-6F7E22BEF974}"/>
                  </a:ext>
                </a:extLst>
              </p:cNvPr>
              <p:cNvSpPr/>
              <p:nvPr userDrawn="1"/>
            </p:nvSpPr>
            <p:spPr>
              <a:xfrm>
                <a:off x="10614649" y="2232760"/>
                <a:ext cx="154915" cy="15491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50EB7C85-87EB-163B-9D22-B14550109DE7}"/>
                </a:ext>
              </a:extLst>
            </p:cNvPr>
            <p:cNvGrpSpPr/>
            <p:nvPr userDrawn="1"/>
          </p:nvGrpSpPr>
          <p:grpSpPr>
            <a:xfrm rot="10800000">
              <a:off x="7607475" y="8563"/>
              <a:ext cx="2266671" cy="4541762"/>
              <a:chOff x="7638060" y="2316238"/>
              <a:chExt cx="2266671" cy="4541762"/>
            </a:xfrm>
            <a:noFill/>
          </p:grpSpPr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97719DE-932F-F522-6081-38B9738C39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7638060" y="3432378"/>
                <a:ext cx="0" cy="3425622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Arc 150">
                <a:extLst>
                  <a:ext uri="{FF2B5EF4-FFF2-40B4-BE49-F238E27FC236}">
                    <a16:creationId xmlns:a16="http://schemas.microsoft.com/office/drawing/2014/main" id="{8EF75795-E292-8543-9333-1F7CEF2098F1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F961B657-1105-EF2A-DEB2-3DA41235EF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16238"/>
                <a:ext cx="1124828" cy="0"/>
              </a:xfrm>
              <a:prstGeom prst="line">
                <a:avLst/>
              </a:prstGeom>
              <a:grpFill/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C83685D-A2C0-3C3E-4F02-424A988730C6}"/>
              </a:ext>
            </a:extLst>
          </p:cNvPr>
          <p:cNvSpPr/>
          <p:nvPr/>
        </p:nvSpPr>
        <p:spPr>
          <a:xfrm rot="10800000">
            <a:off x="9965664" y="0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959B485-73AB-CB74-27D3-F0D28A9FEFDE}"/>
              </a:ext>
            </a:extLst>
          </p:cNvPr>
          <p:cNvSpPr/>
          <p:nvPr/>
        </p:nvSpPr>
        <p:spPr>
          <a:xfrm rot="10800000">
            <a:off x="9965662" y="4631665"/>
            <a:ext cx="2226336" cy="2226335"/>
          </a:xfrm>
          <a:custGeom>
            <a:avLst/>
            <a:gdLst>
              <a:gd name="connsiteX0" fmla="*/ 1608779 w 3217559"/>
              <a:gd name="connsiteY0" fmla="*/ 3217558 h 3217558"/>
              <a:gd name="connsiteX1" fmla="*/ 1 w 3217559"/>
              <a:gd name="connsiteY1" fmla="*/ 3217558 h 3217558"/>
              <a:gd name="connsiteX2" fmla="*/ 1 w 3217559"/>
              <a:gd name="connsiteY2" fmla="*/ 1608799 h 3217558"/>
              <a:gd name="connsiteX3" fmla="*/ 0 w 3217559"/>
              <a:gd name="connsiteY3" fmla="*/ 1608779 h 3217558"/>
              <a:gd name="connsiteX4" fmla="*/ 1 w 3217559"/>
              <a:gd name="connsiteY4" fmla="*/ 1608779 h 3217558"/>
              <a:gd name="connsiteX5" fmla="*/ 1608780 w 3217559"/>
              <a:gd name="connsiteY5" fmla="*/ 0 h 3217558"/>
              <a:gd name="connsiteX6" fmla="*/ 3217558 w 3217559"/>
              <a:gd name="connsiteY6" fmla="*/ 0 h 3217558"/>
              <a:gd name="connsiteX7" fmla="*/ 3217558 w 3217559"/>
              <a:gd name="connsiteY7" fmla="*/ 1608759 h 3217558"/>
              <a:gd name="connsiteX8" fmla="*/ 3217559 w 3217559"/>
              <a:gd name="connsiteY8" fmla="*/ 1608779 h 3217558"/>
              <a:gd name="connsiteX9" fmla="*/ 3217558 w 3217559"/>
              <a:gd name="connsiteY9" fmla="*/ 1608779 h 3217558"/>
              <a:gd name="connsiteX10" fmla="*/ 1608779 w 3217559"/>
              <a:gd name="connsiteY10" fmla="*/ 3217558 h 3217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8">
                <a:moveTo>
                  <a:pt x="1608779" y="3217558"/>
                </a:moveTo>
                <a:lnTo>
                  <a:pt x="1" y="3217558"/>
                </a:lnTo>
                <a:lnTo>
                  <a:pt x="1" y="1608799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59"/>
                </a:lnTo>
                <a:lnTo>
                  <a:pt x="3217559" y="1608779"/>
                </a:lnTo>
                <a:lnTo>
                  <a:pt x="3217558" y="1608779"/>
                </a:lnTo>
                <a:cubicBezTo>
                  <a:pt x="3217558" y="2497283"/>
                  <a:pt x="2497283" y="3217558"/>
                  <a:pt x="1608779" y="321755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sp>
        <p:nvSpPr>
          <p:cNvPr id="140" name="Picture Placeholder 10">
            <a:extLst>
              <a:ext uri="{FF2B5EF4-FFF2-40B4-BE49-F238E27FC236}">
                <a16:creationId xmlns:a16="http://schemas.microsoft.com/office/drawing/2014/main" id="{C0C2248F-B7C7-F5D8-41EA-82F20185FF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46775" y="-1"/>
            <a:ext cx="4545225" cy="4542167"/>
          </a:xfrm>
          <a:custGeom>
            <a:avLst/>
            <a:gdLst>
              <a:gd name="connsiteX0" fmla="*/ 2318888 w 4545225"/>
              <a:gd name="connsiteY0" fmla="*/ 2315832 h 4542167"/>
              <a:gd name="connsiteX1" fmla="*/ 3432057 w 4545225"/>
              <a:gd name="connsiteY1" fmla="*/ 2315832 h 4542167"/>
              <a:gd name="connsiteX2" fmla="*/ 4545225 w 4545225"/>
              <a:gd name="connsiteY2" fmla="*/ 3429000 h 4542167"/>
              <a:gd name="connsiteX3" fmla="*/ 4545224 w 4545225"/>
              <a:gd name="connsiteY3" fmla="*/ 4542167 h 4542167"/>
              <a:gd name="connsiteX4" fmla="*/ 3432056 w 4545225"/>
              <a:gd name="connsiteY4" fmla="*/ 4542167 h 4542167"/>
              <a:gd name="connsiteX5" fmla="*/ 2318888 w 4545225"/>
              <a:gd name="connsiteY5" fmla="*/ 3428999 h 4542167"/>
              <a:gd name="connsiteX6" fmla="*/ 0 w 4545225"/>
              <a:gd name="connsiteY6" fmla="*/ 0 h 4542167"/>
              <a:gd name="connsiteX7" fmla="*/ 1113169 w 4545225"/>
              <a:gd name="connsiteY7" fmla="*/ 0 h 4542167"/>
              <a:gd name="connsiteX8" fmla="*/ 2226337 w 4545225"/>
              <a:gd name="connsiteY8" fmla="*/ 1113168 h 4542167"/>
              <a:gd name="connsiteX9" fmla="*/ 2226336 w 4545225"/>
              <a:gd name="connsiteY9" fmla="*/ 2226335 h 4542167"/>
              <a:gd name="connsiteX10" fmla="*/ 1113168 w 4545225"/>
              <a:gd name="connsiteY10" fmla="*/ 2226335 h 4542167"/>
              <a:gd name="connsiteX11" fmla="*/ 0 w 4545225"/>
              <a:gd name="connsiteY11" fmla="*/ 1113167 h 4542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45225" h="4542167">
                <a:moveTo>
                  <a:pt x="2318888" y="2315832"/>
                </a:moveTo>
                <a:lnTo>
                  <a:pt x="3432057" y="2315832"/>
                </a:lnTo>
                <a:cubicBezTo>
                  <a:pt x="4046843" y="2315832"/>
                  <a:pt x="4545225" y="2814214"/>
                  <a:pt x="4545225" y="3429000"/>
                </a:cubicBezTo>
                <a:cubicBezTo>
                  <a:pt x="4545225" y="3800056"/>
                  <a:pt x="4545224" y="4171111"/>
                  <a:pt x="4545224" y="4542167"/>
                </a:cubicBezTo>
                <a:lnTo>
                  <a:pt x="3432056" y="4542167"/>
                </a:lnTo>
                <a:cubicBezTo>
                  <a:pt x="2817270" y="4542167"/>
                  <a:pt x="2318888" y="4043785"/>
                  <a:pt x="2318888" y="3428999"/>
                </a:cubicBezTo>
                <a:close/>
                <a:moveTo>
                  <a:pt x="0" y="0"/>
                </a:moveTo>
                <a:lnTo>
                  <a:pt x="1113169" y="0"/>
                </a:lnTo>
                <a:cubicBezTo>
                  <a:pt x="1727955" y="0"/>
                  <a:pt x="2226337" y="498382"/>
                  <a:pt x="2226337" y="1113168"/>
                </a:cubicBezTo>
                <a:cubicBezTo>
                  <a:pt x="2226337" y="1484224"/>
                  <a:pt x="2226336" y="1855279"/>
                  <a:pt x="2226336" y="2226335"/>
                </a:cubicBezTo>
                <a:lnTo>
                  <a:pt x="1113168" y="2226335"/>
                </a:lnTo>
                <a:cubicBezTo>
                  <a:pt x="498382" y="2226335"/>
                  <a:pt x="0" y="1727953"/>
                  <a:pt x="0" y="111316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6401CCD5-C059-7C06-467D-0B23343BECDB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724B5671-3A7E-E371-4418-4271A68EA70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5D556E27-38E6-303C-2E6E-5B400B68130A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1966BB24-2927-BDD6-B04C-FAE998DC10C5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BA0E38E6-FF41-458B-00E9-EAFBF6EE8969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B978451C-381C-0469-78DA-A6C288A21C52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ABE9B86-CECE-BED3-6477-7BA865FF1CB0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FB084953-4721-0852-82B1-ED400091AD04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43ED3B2A-C0F7-E688-5352-CD79B9B69061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7E39499-BBB2-25F7-7607-9CC7B2BB4607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E2D8E12A-7DE3-249E-494D-C36552B46073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B3A039F-1BE6-18C1-AE85-F6E033F80301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76ACBD35-EB1A-CB3C-F86A-04B1992A4355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B4BE5C62-4A6B-938B-6E1A-555D37EA061E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52FC090C-F230-F145-0774-76CAE7F5E2CF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36B59B3B-9F78-E36A-55D7-4368537781CB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E72DFD1C-38A1-A154-83E0-E27E62B35636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73746E94-9B89-8655-04DE-2B66DC51C7E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86A63AC-4ABB-8F6F-D177-7683188B6295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E50B91DE-5136-B3F8-EC0E-63E6D6476EBF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18" name="Rectangle 5">
            <a:extLst>
              <a:ext uri="{FF2B5EF4-FFF2-40B4-BE49-F238E27FC236}">
                <a16:creationId xmlns:a16="http://schemas.microsoft.com/office/drawing/2014/main" id="{E7E1E30A-3DD8-F4C8-FC34-BA04E84914C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19" name="Foliennummernplatzhalter 3">
            <a:extLst>
              <a:ext uri="{FF2B5EF4-FFF2-40B4-BE49-F238E27FC236}">
                <a16:creationId xmlns:a16="http://schemas.microsoft.com/office/drawing/2014/main" id="{807B4CD6-8DA4-0AF3-C254-E3527FE4F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>
              <a:solidFill>
                <a:srgbClr val="626469"/>
              </a:solidFill>
            </a:endParaRPr>
          </a:p>
        </p:txBody>
      </p:sp>
      <p:pic>
        <p:nvPicPr>
          <p:cNvPr id="221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0FE2C195-BD5F-9460-DF5C-59EA063A4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4846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08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9132887D-06B2-F97B-1653-1FAD821DFFB5}"/>
              </a:ext>
            </a:extLst>
          </p:cNvPr>
          <p:cNvSpPr/>
          <p:nvPr userDrawn="1"/>
        </p:nvSpPr>
        <p:spPr>
          <a:xfrm flipH="1">
            <a:off x="6997699" y="4572000"/>
            <a:ext cx="5194300" cy="2286000"/>
          </a:xfrm>
          <a:prstGeom prst="round1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3AB4BBF-CD16-0DEA-5970-D59DBC564FD8}"/>
              </a:ext>
            </a:extLst>
          </p:cNvPr>
          <p:cNvGrpSpPr/>
          <p:nvPr userDrawn="1"/>
        </p:nvGrpSpPr>
        <p:grpSpPr>
          <a:xfrm rot="5400000" flipV="1">
            <a:off x="6676232" y="1365140"/>
            <a:ext cx="5153025" cy="5856286"/>
            <a:chOff x="5618264" y="-11928"/>
            <a:chExt cx="6573736" cy="686992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EBDD8A1-8EE9-8501-DC3E-326FA8EB246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2A69EF7-943D-CDDC-5405-64C8A119B854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0B7443-CEED-ADBF-5D2A-F37DE5F39834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463E08F-0DCB-AC41-A2F4-822BEAF20395}"/>
                </a:ext>
              </a:extLst>
            </p:cNvPr>
            <p:cNvSpPr/>
            <p:nvPr/>
          </p:nvSpPr>
          <p:spPr>
            <a:xfrm rot="10800000">
              <a:off x="8915965" y="686503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58D1DC-487B-5AE4-755C-629DE70EEC62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E5D6C6-D302-32AF-333D-56F9968049A9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grpFill/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2" name="Picture 1" descr="Logo&#10;&#10;Description automatically generated with medium confidence">
            <a:extLst>
              <a:ext uri="{FF2B5EF4-FFF2-40B4-BE49-F238E27FC236}">
                <a16:creationId xmlns:a16="http://schemas.microsoft.com/office/drawing/2014/main" id="{9AB91DD4-0226-70B9-9B57-C7F4A39FA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257768" y="823785"/>
            <a:ext cx="2740431" cy="5346514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7F809DA-3C4E-4C4D-29BD-76FF11D40300}"/>
              </a:ext>
            </a:extLst>
          </p:cNvPr>
          <p:cNvSpPr/>
          <p:nvPr userDrawn="1"/>
        </p:nvSpPr>
        <p:spPr>
          <a:xfrm>
            <a:off x="8504219" y="1356389"/>
            <a:ext cx="2222035" cy="4472307"/>
          </a:xfrm>
          <a:prstGeom prst="roundRect">
            <a:avLst>
              <a:gd name="adj" fmla="val 4868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C6DDEE2B-C8BB-B8BB-0357-76488C0ADE0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19" y="1353159"/>
            <a:ext cx="2222035" cy="4472307"/>
          </a:xfrm>
          <a:prstGeom prst="roundRect">
            <a:avLst>
              <a:gd name="adj" fmla="val 4260"/>
            </a:avLst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BCA76E2-240F-F2EB-3351-B734F4AF6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ADAEFAB-DCD4-89B2-7AC9-742C8B05E2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7EE2DCE1-1A8C-8F54-9D6C-DBFBCA7F8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483696"/>
            <a:ext cx="7265598" cy="46866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EB5BB6-E30D-C9AB-A020-D5B73C91FE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8" y="1137046"/>
            <a:ext cx="7265598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23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1B3E618B-868C-7AFF-A82F-C3C0C2DE89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5">
            <a:extLst>
              <a:ext uri="{FF2B5EF4-FFF2-40B4-BE49-F238E27FC236}">
                <a16:creationId xmlns:a16="http://schemas.microsoft.com/office/drawing/2014/main" id="{BF1BB4E3-FA24-822C-4888-9FB68AB623CC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24" name="Foliennummernplatzhalter 3">
            <a:extLst>
              <a:ext uri="{FF2B5EF4-FFF2-40B4-BE49-F238E27FC236}">
                <a16:creationId xmlns:a16="http://schemas.microsoft.com/office/drawing/2014/main" id="{A5A0DEE1-FBF8-1A18-DFA6-CB5097E76E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29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Devic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38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18F2614-EC8A-87C8-45AB-FBC55C824E6E}"/>
              </a:ext>
            </a:extLst>
          </p:cNvPr>
          <p:cNvSpPr/>
          <p:nvPr/>
        </p:nvSpPr>
        <p:spPr>
          <a:xfrm>
            <a:off x="11111" y="23138"/>
            <a:ext cx="3078689" cy="1361123"/>
          </a:xfrm>
          <a:custGeom>
            <a:avLst/>
            <a:gdLst>
              <a:gd name="connsiteX0" fmla="*/ 2453078 w 2855226"/>
              <a:gd name="connsiteY0" fmla="*/ 1262327 h 1262327"/>
              <a:gd name="connsiteX1" fmla="*/ 0 w 2855226"/>
              <a:gd name="connsiteY1" fmla="*/ 1262327 h 1262327"/>
              <a:gd name="connsiteX2" fmla="*/ 0 w 2855226"/>
              <a:gd name="connsiteY2" fmla="*/ 1254479 h 1262327"/>
              <a:gd name="connsiteX3" fmla="*/ 2453078 w 2855226"/>
              <a:gd name="connsiteY3" fmla="*/ 1254479 h 1262327"/>
              <a:gd name="connsiteX4" fmla="*/ 2847064 w 2855226"/>
              <a:gd name="connsiteY4" fmla="*/ 860178 h 1262327"/>
              <a:gd name="connsiteX5" fmla="*/ 2847064 w 2855226"/>
              <a:gd name="connsiteY5" fmla="*/ 0 h 1262327"/>
              <a:gd name="connsiteX6" fmla="*/ 2855227 w 2855226"/>
              <a:gd name="connsiteY6" fmla="*/ 0 h 1262327"/>
              <a:gd name="connsiteX7" fmla="*/ 2855227 w 2855226"/>
              <a:gd name="connsiteY7" fmla="*/ 860178 h 1262327"/>
              <a:gd name="connsiteX8" fmla="*/ 2453078 w 2855226"/>
              <a:gd name="connsiteY8" fmla="*/ 1262327 h 1262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55226" h="1262327">
                <a:moveTo>
                  <a:pt x="2453078" y="1262327"/>
                </a:moveTo>
                <a:lnTo>
                  <a:pt x="0" y="1262327"/>
                </a:lnTo>
                <a:lnTo>
                  <a:pt x="0" y="1254479"/>
                </a:lnTo>
                <a:lnTo>
                  <a:pt x="2453078" y="1254479"/>
                </a:lnTo>
                <a:cubicBezTo>
                  <a:pt x="2670320" y="1254479"/>
                  <a:pt x="2847064" y="1077420"/>
                  <a:pt x="2847064" y="860178"/>
                </a:cubicBezTo>
                <a:lnTo>
                  <a:pt x="2847064" y="0"/>
                </a:lnTo>
                <a:lnTo>
                  <a:pt x="2855227" y="0"/>
                </a:lnTo>
                <a:lnTo>
                  <a:pt x="2855227" y="860178"/>
                </a:lnTo>
                <a:cubicBezTo>
                  <a:pt x="2855227" y="1081815"/>
                  <a:pt x="2674715" y="1262327"/>
                  <a:pt x="2453078" y="126232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437A807-DD4A-852D-F157-2A110FFC9DEC}"/>
              </a:ext>
            </a:extLst>
          </p:cNvPr>
          <p:cNvSpPr/>
          <p:nvPr/>
        </p:nvSpPr>
        <p:spPr>
          <a:xfrm>
            <a:off x="2162300" y="23138"/>
            <a:ext cx="4366694" cy="2503233"/>
          </a:xfrm>
          <a:custGeom>
            <a:avLst/>
            <a:gdLst>
              <a:gd name="connsiteX0" fmla="*/ 4049744 w 4049743"/>
              <a:gd name="connsiteY0" fmla="*/ 2321539 h 2321539"/>
              <a:gd name="connsiteX1" fmla="*/ 2600312 w 4049743"/>
              <a:gd name="connsiteY1" fmla="*/ 2321539 h 2321539"/>
              <a:gd name="connsiteX2" fmla="*/ 2198164 w 4049743"/>
              <a:gd name="connsiteY2" fmla="*/ 1919390 h 2321539"/>
              <a:gd name="connsiteX3" fmla="*/ 2198164 w 4049743"/>
              <a:gd name="connsiteY3" fmla="*/ 1146800 h 2321539"/>
              <a:gd name="connsiteX4" fmla="*/ 1803863 w 4049743"/>
              <a:gd name="connsiteY4" fmla="*/ 752499 h 2321539"/>
              <a:gd name="connsiteX5" fmla="*/ 402149 w 4049743"/>
              <a:gd name="connsiteY5" fmla="*/ 752499 h 2321539"/>
              <a:gd name="connsiteX6" fmla="*/ 0 w 4049743"/>
              <a:gd name="connsiteY6" fmla="*/ 350350 h 2321539"/>
              <a:gd name="connsiteX7" fmla="*/ 0 w 4049743"/>
              <a:gd name="connsiteY7" fmla="*/ 0 h 2321539"/>
              <a:gd name="connsiteX8" fmla="*/ 7848 w 4049743"/>
              <a:gd name="connsiteY8" fmla="*/ 0 h 2321539"/>
              <a:gd name="connsiteX9" fmla="*/ 7848 w 4049743"/>
              <a:gd name="connsiteY9" fmla="*/ 350350 h 2321539"/>
              <a:gd name="connsiteX10" fmla="*/ 402149 w 4049743"/>
              <a:gd name="connsiteY10" fmla="*/ 744651 h 2321539"/>
              <a:gd name="connsiteX11" fmla="*/ 1803863 w 4049743"/>
              <a:gd name="connsiteY11" fmla="*/ 744651 h 2321539"/>
              <a:gd name="connsiteX12" fmla="*/ 2206012 w 4049743"/>
              <a:gd name="connsiteY12" fmla="*/ 1146800 h 2321539"/>
              <a:gd name="connsiteX13" fmla="*/ 2206012 w 4049743"/>
              <a:gd name="connsiteY13" fmla="*/ 1919390 h 2321539"/>
              <a:gd name="connsiteX14" fmla="*/ 2600312 w 4049743"/>
              <a:gd name="connsiteY14" fmla="*/ 2313691 h 2321539"/>
              <a:gd name="connsiteX15" fmla="*/ 4049744 w 4049743"/>
              <a:gd name="connsiteY15" fmla="*/ 2313691 h 2321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49743" h="2321539">
                <a:moveTo>
                  <a:pt x="4049744" y="2321539"/>
                </a:moveTo>
                <a:lnTo>
                  <a:pt x="2600312" y="2321539"/>
                </a:lnTo>
                <a:cubicBezTo>
                  <a:pt x="2378675" y="2321539"/>
                  <a:pt x="2198164" y="2141028"/>
                  <a:pt x="2198164" y="1919390"/>
                </a:cubicBezTo>
                <a:lnTo>
                  <a:pt x="2198164" y="1146800"/>
                </a:lnTo>
                <a:cubicBezTo>
                  <a:pt x="2198164" y="929557"/>
                  <a:pt x="2021105" y="752499"/>
                  <a:pt x="1803863" y="752499"/>
                </a:cubicBezTo>
                <a:lnTo>
                  <a:pt x="402149" y="752499"/>
                </a:lnTo>
                <a:cubicBezTo>
                  <a:pt x="180512" y="752499"/>
                  <a:pt x="0" y="572301"/>
                  <a:pt x="0" y="350350"/>
                </a:cubicBezTo>
                <a:lnTo>
                  <a:pt x="0" y="0"/>
                </a:lnTo>
                <a:lnTo>
                  <a:pt x="7848" y="0"/>
                </a:lnTo>
                <a:lnTo>
                  <a:pt x="7848" y="350350"/>
                </a:lnTo>
                <a:cubicBezTo>
                  <a:pt x="7848" y="567906"/>
                  <a:pt x="184907" y="744651"/>
                  <a:pt x="402149" y="744651"/>
                </a:cubicBezTo>
                <a:lnTo>
                  <a:pt x="1803863" y="744651"/>
                </a:lnTo>
                <a:cubicBezTo>
                  <a:pt x="2025500" y="744651"/>
                  <a:pt x="2206012" y="925162"/>
                  <a:pt x="2206012" y="1146800"/>
                </a:cubicBezTo>
                <a:lnTo>
                  <a:pt x="2206012" y="1919390"/>
                </a:lnTo>
                <a:cubicBezTo>
                  <a:pt x="2206012" y="2136632"/>
                  <a:pt x="2383071" y="2313691"/>
                  <a:pt x="2600312" y="2313691"/>
                </a:cubicBezTo>
                <a:lnTo>
                  <a:pt x="4049744" y="231369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6DC1CBAD-B8CB-2830-9A34-1F19AEC6DEBF}"/>
              </a:ext>
            </a:extLst>
          </p:cNvPr>
          <p:cNvSpPr/>
          <p:nvPr/>
        </p:nvSpPr>
        <p:spPr>
          <a:xfrm>
            <a:off x="11111" y="2792773"/>
            <a:ext cx="2052346" cy="8462"/>
          </a:xfrm>
          <a:custGeom>
            <a:avLst/>
            <a:gdLst>
              <a:gd name="connsiteX0" fmla="*/ 1903380 w 1903379"/>
              <a:gd name="connsiteY0" fmla="*/ 7848 h 7848"/>
              <a:gd name="connsiteX1" fmla="*/ 0 w 1903379"/>
              <a:gd name="connsiteY1" fmla="*/ 7848 h 7848"/>
              <a:gd name="connsiteX2" fmla="*/ 0 w 1903379"/>
              <a:gd name="connsiteY2" fmla="*/ 0 h 7848"/>
              <a:gd name="connsiteX3" fmla="*/ 1903380 w 1903379"/>
              <a:gd name="connsiteY3" fmla="*/ 0 h 7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379" h="7848">
                <a:moveTo>
                  <a:pt x="1903380" y="7848"/>
                </a:moveTo>
                <a:lnTo>
                  <a:pt x="0" y="7848"/>
                </a:lnTo>
                <a:lnTo>
                  <a:pt x="0" y="0"/>
                </a:lnTo>
                <a:lnTo>
                  <a:pt x="190338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E98F275-B442-E65F-37A5-F1DA54C63E3A}"/>
              </a:ext>
            </a:extLst>
          </p:cNvPr>
          <p:cNvSpPr/>
          <p:nvPr/>
        </p:nvSpPr>
        <p:spPr>
          <a:xfrm>
            <a:off x="3416116" y="791540"/>
            <a:ext cx="77179" cy="77516"/>
          </a:xfrm>
          <a:custGeom>
            <a:avLst/>
            <a:gdLst>
              <a:gd name="connsiteX0" fmla="*/ 71577 w 71577"/>
              <a:gd name="connsiteY0" fmla="*/ 36102 h 71890"/>
              <a:gd name="connsiteX1" fmla="*/ 35789 w 71577"/>
              <a:gd name="connsiteY1" fmla="*/ 71891 h 71890"/>
              <a:gd name="connsiteX2" fmla="*/ 0 w 71577"/>
              <a:gd name="connsiteY2" fmla="*/ 36102 h 71890"/>
              <a:gd name="connsiteX3" fmla="*/ 35789 w 71577"/>
              <a:gd name="connsiteY3" fmla="*/ 0 h 71890"/>
              <a:gd name="connsiteX4" fmla="*/ 71577 w 71577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7" h="71890">
                <a:moveTo>
                  <a:pt x="71577" y="36102"/>
                </a:moveTo>
                <a:cubicBezTo>
                  <a:pt x="71577" y="55880"/>
                  <a:pt x="55566" y="71891"/>
                  <a:pt x="35789" y="71891"/>
                </a:cubicBezTo>
                <a:cubicBezTo>
                  <a:pt x="16011" y="71891"/>
                  <a:pt x="0" y="55880"/>
                  <a:pt x="0" y="36102"/>
                </a:cubicBezTo>
                <a:cubicBezTo>
                  <a:pt x="0" y="16325"/>
                  <a:pt x="16011" y="0"/>
                  <a:pt x="35789" y="0"/>
                </a:cubicBezTo>
                <a:cubicBezTo>
                  <a:pt x="55566" y="0"/>
                  <a:pt x="71577" y="16325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04E4207-C0B6-C31F-0E2C-923BBED184CC}"/>
              </a:ext>
            </a:extLst>
          </p:cNvPr>
          <p:cNvSpPr/>
          <p:nvPr/>
        </p:nvSpPr>
        <p:spPr>
          <a:xfrm>
            <a:off x="1835982" y="1341270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9 w 71576"/>
              <a:gd name="connsiteY1" fmla="*/ 71577 h 71576"/>
              <a:gd name="connsiteX2" fmla="*/ 0 w 71576"/>
              <a:gd name="connsiteY2" fmla="*/ 35788 h 71576"/>
              <a:gd name="connsiteX3" fmla="*/ 35789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9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9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9BAFCA06-D6E9-6D77-F173-800A1FEC2DF4}"/>
              </a:ext>
            </a:extLst>
          </p:cNvPr>
          <p:cNvSpPr/>
          <p:nvPr/>
        </p:nvSpPr>
        <p:spPr>
          <a:xfrm>
            <a:off x="3209968" y="2912941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E1B7FAE-E00F-1C0F-0101-F4796581BA70}"/>
              </a:ext>
            </a:extLst>
          </p:cNvPr>
          <p:cNvSpPr/>
          <p:nvPr/>
        </p:nvSpPr>
        <p:spPr>
          <a:xfrm>
            <a:off x="874294" y="2758246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7AA8532-F207-5E96-A4CE-DC941E7B15CF}"/>
              </a:ext>
            </a:extLst>
          </p:cNvPr>
          <p:cNvSpPr/>
          <p:nvPr/>
        </p:nvSpPr>
        <p:spPr>
          <a:xfrm>
            <a:off x="3209968" y="3179005"/>
            <a:ext cx="77178" cy="77178"/>
          </a:xfrm>
          <a:custGeom>
            <a:avLst/>
            <a:gdLst>
              <a:gd name="connsiteX0" fmla="*/ 71577 w 71576"/>
              <a:gd name="connsiteY0" fmla="*/ 35789 h 71576"/>
              <a:gd name="connsiteX1" fmla="*/ 35788 w 71576"/>
              <a:gd name="connsiteY1" fmla="*/ 71577 h 71576"/>
              <a:gd name="connsiteX2" fmla="*/ 0 w 71576"/>
              <a:gd name="connsiteY2" fmla="*/ 35789 h 71576"/>
              <a:gd name="connsiteX3" fmla="*/ 35788 w 71576"/>
              <a:gd name="connsiteY3" fmla="*/ 0 h 71576"/>
              <a:gd name="connsiteX4" fmla="*/ 71577 w 71576"/>
              <a:gd name="connsiteY4" fmla="*/ 35789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9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9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0664AFD-8F36-7E09-00A8-57ABF4220B4A}"/>
              </a:ext>
            </a:extLst>
          </p:cNvPr>
          <p:cNvSpPr/>
          <p:nvPr/>
        </p:nvSpPr>
        <p:spPr>
          <a:xfrm>
            <a:off x="2007604" y="2740982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039EFA6-421E-B5CC-5625-AC6E3D066799}"/>
              </a:ext>
            </a:extLst>
          </p:cNvPr>
          <p:cNvSpPr/>
          <p:nvPr userDrawn="1"/>
        </p:nvSpPr>
        <p:spPr>
          <a:xfrm>
            <a:off x="6473141" y="2470518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907205C-643E-7811-5AB7-25488E56A8E2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3F0FB66-CBCE-A4D1-13C5-1EDCEEFB123B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4591277-E52B-2B07-2ED2-E827D3B713D4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A58EC88-3A76-8025-27D2-1ED87AC5A832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644164A-BBBE-AE1E-AE32-377FE27991BA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0A46F8-F5B6-9679-3F1C-CA783F2A597C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638A81D-7FB5-5039-21DD-A0E04354250B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2C6457-15D4-2B4D-BFF3-D1F137157CDD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9D79206-DC8E-0E9F-9EF0-EECCB2256B4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86835EC-8521-6E76-9B39-F7B6FDE45D72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3F4941A-C015-C1E7-ECE1-D2E10E5E71ED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3AB03A1-A054-2B26-8B94-8DFA86525B0D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549C04C-747E-5D01-171E-BEC88A2AC0EA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903B911-1496-D7E6-C68A-5FD9C6D41811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CFA80D9E-102F-74A1-971A-404EAA168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143469" y="1170525"/>
            <a:ext cx="2471370" cy="482158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C0B7AC-50B7-166A-C76A-881AC3F228AA}"/>
              </a:ext>
            </a:extLst>
          </p:cNvPr>
          <p:cNvSpPr/>
          <p:nvPr userDrawn="1"/>
        </p:nvSpPr>
        <p:spPr>
          <a:xfrm>
            <a:off x="8377219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23E588A1-8E33-704D-BFCC-B3C43C22FCF8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8377219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4A9811BB-DE17-1050-50A9-F31C53A8E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4860315" y="1184805"/>
            <a:ext cx="2471370" cy="4821583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5EFF1A-D5A5-09A9-67A4-7CDEF536A227}"/>
              </a:ext>
            </a:extLst>
          </p:cNvPr>
          <p:cNvSpPr/>
          <p:nvPr userDrawn="1"/>
        </p:nvSpPr>
        <p:spPr>
          <a:xfrm>
            <a:off x="5094065" y="163157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E08430E-50CC-BEC3-28CA-692B48744CC4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5094065" y="162834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424D608-6238-C262-F5D4-F1ACC99FB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1577161" y="1170525"/>
            <a:ext cx="2471370" cy="482158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C304948-5F2F-069A-66DF-80E2957761FA}"/>
              </a:ext>
            </a:extLst>
          </p:cNvPr>
          <p:cNvSpPr/>
          <p:nvPr userDrawn="1"/>
        </p:nvSpPr>
        <p:spPr>
          <a:xfrm>
            <a:off x="1810911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A9F11746-D5AF-D0BB-684A-8826D3511862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1810911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ED962AC-DC7A-9CA4-90E6-E58A7232168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15D5987A-7E4A-F9B9-FB6B-5E3D33000A8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D8F0D4DD-4FC7-6D4D-3A60-DE6FF83EFE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7" name="Foliennummernplatzhalter 3">
            <a:extLst>
              <a:ext uri="{FF2B5EF4-FFF2-40B4-BE49-F238E27FC236}">
                <a16:creationId xmlns:a16="http://schemas.microsoft.com/office/drawing/2014/main" id="{026F05A9-62F2-1072-DEF7-E2D3C1CCFA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72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vice with photo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35A7D4-177E-3087-F8A2-8D5B41933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38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C35A7D4-177E-3087-F8A2-8D5B4193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9BAFCA06-D6E9-6D77-F173-800A1FEC2DF4}"/>
              </a:ext>
            </a:extLst>
          </p:cNvPr>
          <p:cNvSpPr/>
          <p:nvPr/>
        </p:nvSpPr>
        <p:spPr>
          <a:xfrm>
            <a:off x="3209968" y="2912941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7AA8532-F207-5E96-A4CE-DC941E7B15CF}"/>
              </a:ext>
            </a:extLst>
          </p:cNvPr>
          <p:cNvSpPr/>
          <p:nvPr/>
        </p:nvSpPr>
        <p:spPr>
          <a:xfrm>
            <a:off x="3209968" y="3179005"/>
            <a:ext cx="77178" cy="77178"/>
          </a:xfrm>
          <a:custGeom>
            <a:avLst/>
            <a:gdLst>
              <a:gd name="connsiteX0" fmla="*/ 71577 w 71576"/>
              <a:gd name="connsiteY0" fmla="*/ 35789 h 71576"/>
              <a:gd name="connsiteX1" fmla="*/ 35788 w 71576"/>
              <a:gd name="connsiteY1" fmla="*/ 71577 h 71576"/>
              <a:gd name="connsiteX2" fmla="*/ 0 w 71576"/>
              <a:gd name="connsiteY2" fmla="*/ 35789 h 71576"/>
              <a:gd name="connsiteX3" fmla="*/ 35788 w 71576"/>
              <a:gd name="connsiteY3" fmla="*/ 0 h 71576"/>
              <a:gd name="connsiteX4" fmla="*/ 71577 w 71576"/>
              <a:gd name="connsiteY4" fmla="*/ 35789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9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9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0664AFD-8F36-7E09-00A8-57ABF4220B4A}"/>
              </a:ext>
            </a:extLst>
          </p:cNvPr>
          <p:cNvSpPr/>
          <p:nvPr/>
        </p:nvSpPr>
        <p:spPr>
          <a:xfrm>
            <a:off x="2007604" y="2740982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039EFA6-421E-B5CC-5625-AC6E3D066799}"/>
              </a:ext>
            </a:extLst>
          </p:cNvPr>
          <p:cNvSpPr/>
          <p:nvPr userDrawn="1"/>
        </p:nvSpPr>
        <p:spPr>
          <a:xfrm>
            <a:off x="6473141" y="2470518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CFA80D9E-102F-74A1-971A-404EAA168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8143469" y="1170525"/>
            <a:ext cx="2471370" cy="482158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C0B7AC-50B7-166A-C76A-881AC3F228AA}"/>
              </a:ext>
            </a:extLst>
          </p:cNvPr>
          <p:cNvSpPr/>
          <p:nvPr userDrawn="1"/>
        </p:nvSpPr>
        <p:spPr>
          <a:xfrm>
            <a:off x="8377219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23E588A1-8E33-704D-BFCC-B3C43C22FCF8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8377219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4A9811BB-DE17-1050-50A9-F31C53A8E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4860315" y="1184805"/>
            <a:ext cx="2471370" cy="4821583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5EFF1A-D5A5-09A9-67A4-7CDEF536A227}"/>
              </a:ext>
            </a:extLst>
          </p:cNvPr>
          <p:cNvSpPr/>
          <p:nvPr userDrawn="1"/>
        </p:nvSpPr>
        <p:spPr>
          <a:xfrm>
            <a:off x="5094065" y="163157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2E08430E-50CC-BEC3-28CA-692B48744CC4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5094065" y="162834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4424D608-6238-C262-F5D4-F1ACC99FB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9" t="51274" r="86487" b="21499"/>
          <a:stretch/>
        </p:blipFill>
        <p:spPr>
          <a:xfrm>
            <a:off x="1577161" y="1170525"/>
            <a:ext cx="2471370" cy="482158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C304948-5F2F-069A-66DF-80E2957761FA}"/>
              </a:ext>
            </a:extLst>
          </p:cNvPr>
          <p:cNvSpPr/>
          <p:nvPr userDrawn="1"/>
        </p:nvSpPr>
        <p:spPr>
          <a:xfrm>
            <a:off x="1810911" y="1617299"/>
            <a:ext cx="2003871" cy="4033207"/>
          </a:xfrm>
          <a:prstGeom prst="roundRect">
            <a:avLst>
              <a:gd name="adj" fmla="val 4868"/>
            </a:avLst>
          </a:prstGeom>
          <a:solidFill>
            <a:schemeClr val="accent6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A9F11746-D5AF-D0BB-684A-8826D3511862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1810911" y="1614069"/>
            <a:ext cx="2003871" cy="4033207"/>
          </a:xfrm>
          <a:prstGeom prst="roundRect">
            <a:avLst>
              <a:gd name="adj" fmla="val 426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ED962AC-DC7A-9CA4-90E6-E58A7232168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93515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15D5987A-7E4A-F9B9-FB6B-5E3D33000A8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04798" y="225425"/>
            <a:ext cx="11593515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6" name="Rectangle 5">
            <a:extLst>
              <a:ext uri="{FF2B5EF4-FFF2-40B4-BE49-F238E27FC236}">
                <a16:creationId xmlns:a16="http://schemas.microsoft.com/office/drawing/2014/main" id="{D8F0D4DD-4FC7-6D4D-3A60-DE6FF83EFE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7" name="Foliennummernplatzhalter 3">
            <a:extLst>
              <a:ext uri="{FF2B5EF4-FFF2-40B4-BE49-F238E27FC236}">
                <a16:creationId xmlns:a16="http://schemas.microsoft.com/office/drawing/2014/main" id="{026F05A9-62F2-1072-DEF7-E2D3C1CCFA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927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phic 48">
            <a:extLst>
              <a:ext uri="{FF2B5EF4-FFF2-40B4-BE49-F238E27FC236}">
                <a16:creationId xmlns:a16="http://schemas.microsoft.com/office/drawing/2014/main" id="{AB878741-1DDE-727F-6FF4-8FEDBA0B86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9218"/>
          <a:stretch/>
        </p:blipFill>
        <p:spPr>
          <a:xfrm>
            <a:off x="298802" y="-151833"/>
            <a:ext cx="11582404" cy="700983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1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E89F54-27F3-0C00-B549-C69B82E2E3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1831" y="2104799"/>
            <a:ext cx="3208338" cy="32083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09F744-C4B3-406C-E3B7-1E6855713E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0413" y="1546251"/>
            <a:ext cx="1615394" cy="16153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EAF0A92-0AE3-C2C2-96BC-9532342B4E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44449" y="1107864"/>
            <a:ext cx="2068580" cy="206858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7C71D49-9AA2-06A5-C63D-CA20EE5F47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56507" y="4484130"/>
            <a:ext cx="1444464" cy="144446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207B6C8-2BDC-105B-C3E6-41B8949D61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1029" y="4567636"/>
            <a:ext cx="1398308" cy="139830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302604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fographic style (no lines elem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1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E89F54-27F3-0C00-B549-C69B82E2E3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1831" y="2104799"/>
            <a:ext cx="3208338" cy="32083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09F744-C4B3-406C-E3B7-1E6855713E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5723" y="1546251"/>
            <a:ext cx="1615394" cy="16153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EAF0A92-0AE3-C2C2-96BC-9532342B4E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80883" y="1561050"/>
            <a:ext cx="1615394" cy="161539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77C71D49-9AA2-06A5-C63D-CA20EE5F47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80883" y="4313201"/>
            <a:ext cx="1615393" cy="161539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207B6C8-2BDC-105B-C3E6-41B8949D61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95723" y="4313200"/>
            <a:ext cx="1615394" cy="161539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2013711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45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BC49B4-8127-3E3F-2CC0-6AA1CFE2E267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7F7F9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6E2EDAE-8A66-0FAE-43A0-E5058E4684CD}"/>
              </a:ext>
            </a:extLst>
          </p:cNvPr>
          <p:cNvSpPr txBox="1"/>
          <p:nvPr userDrawn="1"/>
        </p:nvSpPr>
        <p:spPr>
          <a:xfrm>
            <a:off x="4856205" y="935879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US" sz="14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CAC44F1-3C47-BA45-AB36-F695BC2498F6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890B1D2-F2D5-D91E-1D25-995F016EC549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11DF946-DADC-61DC-1A7B-C127C3BFD551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03783D-0A82-B67E-5A31-72C264C7F7E9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CB6F77C-736F-5F60-9D52-D6429187DD61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2A8C590-06B6-FE84-7683-1CF0218CD405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D33E660-C8CC-C75F-AEF8-CBAF4EBCC13B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91CCF4-94B5-6845-D0BD-6429715D5131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ED368A1-8BAA-6190-0387-B110CB9A6020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160C578-9939-D657-82C6-91E8BD3CF9A9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238295-6276-47A2-2973-57F18244B1E5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ED71CC1-1AF1-CC89-431C-10B352FC1B65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3DBF3C-866F-1591-E1F6-13A79049E9AD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9299227-60D7-5FF0-5CD5-11AED4AB82AE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7C497D2-6ADE-61C1-D745-EAFCCE6B84A8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B6FA-AA81-960C-1813-3E7314A09BAA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D73C5C0-A3B5-F7CA-EE4A-C593BF62EC32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C70AFAE-2B7F-8C72-CF06-B081AA09B814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8CAF63-2340-F1EB-E059-6C327111C811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C69115D-9676-CC79-E169-943A00E19B04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FDD8988-4070-AF4A-64A5-6F4A133F1300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70A3F16-E763-ADC8-7CDC-3796ED0AE044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2A947C9-2E54-79ED-3F2E-B2A5A326F4AD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7FC6214-796E-2A34-71F5-83058E48EF7D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10E657D-0EB5-1581-1E43-34350B2AD9F7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ADD1D0E-159C-F019-14E3-BC88A38CABEC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46" name="Picture 45" descr="Logo&#10;&#10;Description automatically generated with medium confidence">
            <a:extLst>
              <a:ext uri="{FF2B5EF4-FFF2-40B4-BE49-F238E27FC236}">
                <a16:creationId xmlns:a16="http://schemas.microsoft.com/office/drawing/2014/main" id="{83110F12-1103-A3D5-2E0C-4E52D007D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304798" y="1194489"/>
            <a:ext cx="7865820" cy="4686603"/>
          </a:xfrm>
          <a:prstGeom prst="rect">
            <a:avLst/>
          </a:prstGeom>
        </p:spPr>
      </p:pic>
      <p:sp>
        <p:nvSpPr>
          <p:cNvPr id="47" name="Rectangle: Top Corners Rounded 1">
            <a:extLst>
              <a:ext uri="{FF2B5EF4-FFF2-40B4-BE49-F238E27FC236}">
                <a16:creationId xmlns:a16="http://schemas.microsoft.com/office/drawing/2014/main" id="{CC128095-67FB-5388-A7C9-D2930D36E034}"/>
              </a:ext>
            </a:extLst>
          </p:cNvPr>
          <p:cNvSpPr/>
          <p:nvPr userDrawn="1"/>
        </p:nvSpPr>
        <p:spPr>
          <a:xfrm>
            <a:off x="1081200" y="1435916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B5CD4C-89C0-0AC2-E86F-A9218DA1C229}"/>
              </a:ext>
            </a:extLst>
          </p:cNvPr>
          <p:cNvSpPr/>
          <p:nvPr userDrawn="1"/>
        </p:nvSpPr>
        <p:spPr>
          <a:xfrm>
            <a:off x="1258151" y="1632766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53" name="Picture Placeholder 48">
            <a:extLst>
              <a:ext uri="{FF2B5EF4-FFF2-40B4-BE49-F238E27FC236}">
                <a16:creationId xmlns:a16="http://schemas.microsoft.com/office/drawing/2014/main" id="{9CEFD16C-8C5E-F633-F1D0-FDAF6574248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58261" y="1633538"/>
            <a:ext cx="5983287" cy="3831056"/>
          </a:xfrm>
          <a:solidFill>
            <a:schemeClr val="bg1"/>
          </a:solidFill>
        </p:spPr>
        <p:txBody>
          <a:bodyPr/>
          <a:lstStyle/>
          <a:p>
            <a:endParaRPr lang="en-GB"/>
          </a:p>
        </p:txBody>
      </p:sp>
      <p:sp>
        <p:nvSpPr>
          <p:cNvPr id="54" name="Text Placeholder 41">
            <a:extLst>
              <a:ext uri="{FF2B5EF4-FFF2-40B4-BE49-F238E27FC236}">
                <a16:creationId xmlns:a16="http://schemas.microsoft.com/office/drawing/2014/main" id="{A4F2736C-ED14-57DB-CEDA-938A06854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40138" y="2111619"/>
            <a:ext cx="1170000" cy="1008000"/>
          </a:xfrm>
          <a:prstGeom prst="hexagon">
            <a:avLst/>
          </a:prstGeom>
          <a:solidFill>
            <a:schemeClr val="accent4"/>
          </a:solidFill>
          <a:ln w="174625" cap="rnd">
            <a:solidFill>
              <a:schemeClr val="accent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5" name="Text Placeholder 41">
            <a:extLst>
              <a:ext uri="{FF2B5EF4-FFF2-40B4-BE49-F238E27FC236}">
                <a16:creationId xmlns:a16="http://schemas.microsoft.com/office/drawing/2014/main" id="{6C45B5C9-907D-7667-C895-4BDB5290CA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93138" y="3357500"/>
            <a:ext cx="864000" cy="745200"/>
          </a:xfrm>
          <a:prstGeom prst="hexagon">
            <a:avLst/>
          </a:prstGeom>
          <a:solidFill>
            <a:schemeClr val="accent5"/>
          </a:solidFill>
          <a:ln w="17462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6" name="Text Placeholder 41">
            <a:extLst>
              <a:ext uri="{FF2B5EF4-FFF2-40B4-BE49-F238E27FC236}">
                <a16:creationId xmlns:a16="http://schemas.microsoft.com/office/drawing/2014/main" id="{D5D6B92F-CDBE-0CCD-080D-58211B1A7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0338" y="4340581"/>
            <a:ext cx="669600" cy="576000"/>
          </a:xfrm>
          <a:prstGeom prst="hexagon">
            <a:avLst/>
          </a:prstGeom>
          <a:solidFill>
            <a:schemeClr val="accent3"/>
          </a:solidFill>
          <a:ln w="17462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000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856932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fographic style (no lines elem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45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BC49B4-8127-3E3F-2CC0-6AA1CFE2E267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7F7F9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6E2EDAE-8A66-0FAE-43A0-E5058E4684CD}"/>
              </a:ext>
            </a:extLst>
          </p:cNvPr>
          <p:cNvSpPr txBox="1"/>
          <p:nvPr userDrawn="1"/>
        </p:nvSpPr>
        <p:spPr>
          <a:xfrm>
            <a:off x="4856205" y="935879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US" sz="1400"/>
          </a:p>
        </p:txBody>
      </p:sp>
      <p:pic>
        <p:nvPicPr>
          <p:cNvPr id="46" name="Picture 45" descr="Logo&#10;&#10;Description automatically generated with medium confidence">
            <a:extLst>
              <a:ext uri="{FF2B5EF4-FFF2-40B4-BE49-F238E27FC236}">
                <a16:creationId xmlns:a16="http://schemas.microsoft.com/office/drawing/2014/main" id="{83110F12-1103-A3D5-2E0C-4E52D007D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17" t="35751" r="39688" b="21499"/>
          <a:stretch/>
        </p:blipFill>
        <p:spPr>
          <a:xfrm>
            <a:off x="1934490" y="1194489"/>
            <a:ext cx="7865820" cy="4686603"/>
          </a:xfrm>
          <a:prstGeom prst="rect">
            <a:avLst/>
          </a:prstGeom>
        </p:spPr>
      </p:pic>
      <p:sp>
        <p:nvSpPr>
          <p:cNvPr id="47" name="Rectangle: Top Corners Rounded 1">
            <a:extLst>
              <a:ext uri="{FF2B5EF4-FFF2-40B4-BE49-F238E27FC236}">
                <a16:creationId xmlns:a16="http://schemas.microsoft.com/office/drawing/2014/main" id="{CC128095-67FB-5388-A7C9-D2930D36E034}"/>
              </a:ext>
            </a:extLst>
          </p:cNvPr>
          <p:cNvSpPr/>
          <p:nvPr userDrawn="1"/>
        </p:nvSpPr>
        <p:spPr>
          <a:xfrm>
            <a:off x="2710892" y="1435916"/>
            <a:ext cx="6337300" cy="4184254"/>
          </a:xfrm>
          <a:prstGeom prst="round2SameRect">
            <a:avLst>
              <a:gd name="adj1" fmla="val 3334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B5CD4C-89C0-0AC2-E86F-A9218DA1C229}"/>
              </a:ext>
            </a:extLst>
          </p:cNvPr>
          <p:cNvSpPr/>
          <p:nvPr userDrawn="1"/>
        </p:nvSpPr>
        <p:spPr>
          <a:xfrm>
            <a:off x="2887843" y="1632766"/>
            <a:ext cx="5983398" cy="3831828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53" name="Picture Placeholder 48">
            <a:extLst>
              <a:ext uri="{FF2B5EF4-FFF2-40B4-BE49-F238E27FC236}">
                <a16:creationId xmlns:a16="http://schemas.microsoft.com/office/drawing/2014/main" id="{9CEFD16C-8C5E-F633-F1D0-FDAF6574248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87953" y="1633538"/>
            <a:ext cx="5983287" cy="3831056"/>
          </a:xfrm>
          <a:solidFill>
            <a:schemeClr val="bg1"/>
          </a:solidFill>
        </p:spPr>
        <p:txBody>
          <a:bodyPr/>
          <a:lstStyle/>
          <a:p>
            <a:endParaRPr lang="en-GB"/>
          </a:p>
        </p:txBody>
      </p:sp>
      <p:sp>
        <p:nvSpPr>
          <p:cNvPr id="54" name="Text Placeholder 41">
            <a:extLst>
              <a:ext uri="{FF2B5EF4-FFF2-40B4-BE49-F238E27FC236}">
                <a16:creationId xmlns:a16="http://schemas.microsoft.com/office/drawing/2014/main" id="{A4F2736C-ED14-57DB-CEDA-938A06854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69830" y="2111619"/>
            <a:ext cx="1170000" cy="1008000"/>
          </a:xfrm>
          <a:prstGeom prst="hexagon">
            <a:avLst/>
          </a:prstGeom>
          <a:solidFill>
            <a:schemeClr val="accent4"/>
          </a:solidFill>
          <a:ln w="174625" cap="rnd">
            <a:solidFill>
              <a:schemeClr val="accent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5" name="Text Placeholder 41">
            <a:extLst>
              <a:ext uri="{FF2B5EF4-FFF2-40B4-BE49-F238E27FC236}">
                <a16:creationId xmlns:a16="http://schemas.microsoft.com/office/drawing/2014/main" id="{6C45B5C9-907D-7667-C895-4BDB5290CA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22830" y="3357500"/>
            <a:ext cx="864000" cy="745200"/>
          </a:xfrm>
          <a:prstGeom prst="hexagon">
            <a:avLst/>
          </a:prstGeom>
          <a:solidFill>
            <a:schemeClr val="accent5"/>
          </a:solidFill>
          <a:ln w="174625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  <p:sp>
        <p:nvSpPr>
          <p:cNvPr id="56" name="Text Placeholder 41">
            <a:extLst>
              <a:ext uri="{FF2B5EF4-FFF2-40B4-BE49-F238E27FC236}">
                <a16:creationId xmlns:a16="http://schemas.microsoft.com/office/drawing/2014/main" id="{D5D6B92F-CDBE-0CCD-080D-58211B1A7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20030" y="4340581"/>
            <a:ext cx="669600" cy="576000"/>
          </a:xfrm>
          <a:prstGeom prst="hexagon">
            <a:avLst/>
          </a:prstGeom>
          <a:solidFill>
            <a:schemeClr val="accent3"/>
          </a:solidFill>
          <a:ln w="174625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000" b="1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023123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564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124">
            <a:extLst>
              <a:ext uri="{FF2B5EF4-FFF2-40B4-BE49-F238E27FC236}">
                <a16:creationId xmlns:a16="http://schemas.microsoft.com/office/drawing/2014/main" id="{3E90573F-91BC-A226-4D38-1300A235D1D9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E1DCD00-A355-EDD8-B8AF-8ADBE881DC22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5DD8AF7-7EB3-13DC-6D8D-245AA1158528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B3130A8D-6328-2D2C-C20D-5BEE359DEA16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68B1434-2C4F-B679-EFEA-CCC8256070DA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63E2000-7B4C-1F04-7FC4-473B6CB1C84D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8908D61-D382-33E3-4ABF-3142D8616581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A27A173A-6608-BE6E-3AF6-F433136ABB81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52413F3C-DF38-1649-06C7-0309982421E6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A5C0302-67B9-5637-8115-016A1AD7A46A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D87A25C-19A6-82ED-61D5-6E86BE69A48A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C154874-0CBD-C5B8-5AB0-32DE9D9EEF62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947A5F6-264C-CCEF-3E2E-FF1D483F002C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40C7E94B-E0D9-FB45-DE42-2FFB3107B879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7E109501-0827-56A6-C2C8-5D52FCB41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966424"/>
            <a:ext cx="2161627" cy="3539846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9D238100-4391-E493-4B5F-0AD7802E3D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9992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97FFC05-B5C2-94C2-86EF-050EC9059F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5186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8203DEB2-F8EC-6EAF-26ED-2D84E198C5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70380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5" name="Text Placeholder 15">
            <a:extLst>
              <a:ext uri="{FF2B5EF4-FFF2-40B4-BE49-F238E27FC236}">
                <a16:creationId xmlns:a16="http://schemas.microsoft.com/office/drawing/2014/main" id="{F48D19A0-817C-6C56-4AEE-7E700FE91A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25574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240402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7E109501-0827-56A6-C2C8-5D52FCB41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8" y="1966424"/>
            <a:ext cx="2161627" cy="3539846"/>
          </a:xfrm>
          <a:prstGeom prst="roundRect">
            <a:avLst/>
          </a:prstGeom>
          <a:solidFill>
            <a:schemeClr val="accent2"/>
          </a:solidFill>
        </p:spPr>
        <p:txBody>
          <a:bodyPr wrap="square" lIns="108000" tIns="972000" rIns="108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9D238100-4391-E493-4B5F-0AD7802E3D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9992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97FFC05-B5C2-94C2-86EF-050EC9059F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5186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8203DEB2-F8EC-6EAF-26ED-2D84E198C5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70380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A7758B34-978E-0716-2A09-B9E6CCB8C4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25575" y="1966424"/>
            <a:ext cx="2161627" cy="3539846"/>
          </a:xfrm>
          <a:prstGeom prst="round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68200">
                <a:srgbClr val="F9F9F9">
                  <a:alpha val="0"/>
                </a:srgbClr>
              </a:gs>
              <a:gs pos="100000">
                <a:schemeClr val="bg1"/>
              </a:gs>
            </a:gsLst>
            <a:lin ang="5400000" scaled="0"/>
          </a:gradFill>
        </p:spPr>
        <p:txBody>
          <a:bodyPr vert="horz" wrap="square" lIns="108000" tIns="972000" rIns="108000" bIns="0" rtlCol="0" anchor="t">
            <a:noAutofit/>
          </a:bodyPr>
          <a:lstStyle>
            <a:lvl1pPr>
              <a:defRPr lang="en-GB" sz="1800" b="1" cap="none" baseline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238034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8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5E5CFCE9-DE4A-ABB8-4201-21BD1C7351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34940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98109A41-70D4-2F10-01F3-7DA6D11A9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2098" y="3279182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618DEE45-2B99-1FEE-D2C4-97F4FAF1B8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9714" y="239159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D14BDF0D-07D5-2F3A-0435-A85A556E6F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17012" y="3283401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414DEC0-2C8C-4A18-2F1A-1AE57984C4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2766" y="1593647"/>
            <a:ext cx="3265208" cy="3265208"/>
          </a:xfrm>
          <a:prstGeom prst="ellipse">
            <a:avLst/>
          </a:prstGeom>
          <a:solidFill>
            <a:schemeClr val="bg1">
              <a:alpha val="50000"/>
            </a:schemeClr>
          </a:solidFill>
        </p:spPr>
        <p:txBody>
          <a:bodyPr lIns="360000" rIns="360000" anchor="ctr"/>
          <a:lstStyle>
            <a:lvl1pPr algn="ctr">
              <a:defRPr sz="2800" b="1">
                <a:solidFill>
                  <a:schemeClr val="tx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67376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D5330D33-25F1-0621-9D82-2E11CF961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8592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D5330D33-25F1-0621-9D82-2E11CF961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725EB9F-66CE-9863-DDE8-E27183BB5B1E}"/>
              </a:ext>
            </a:extLst>
          </p:cNvPr>
          <p:cNvSpPr/>
          <p:nvPr/>
        </p:nvSpPr>
        <p:spPr>
          <a:xfrm>
            <a:off x="1" y="2315833"/>
            <a:ext cx="2226336" cy="2226336"/>
          </a:xfrm>
          <a:custGeom>
            <a:avLst/>
            <a:gdLst>
              <a:gd name="connsiteX0" fmla="*/ 1608779 w 3217559"/>
              <a:gd name="connsiteY0" fmla="*/ 3217559 h 3217559"/>
              <a:gd name="connsiteX1" fmla="*/ 1 w 3217559"/>
              <a:gd name="connsiteY1" fmla="*/ 3217559 h 3217559"/>
              <a:gd name="connsiteX2" fmla="*/ 1 w 3217559"/>
              <a:gd name="connsiteY2" fmla="*/ 1608798 h 3217559"/>
              <a:gd name="connsiteX3" fmla="*/ 0 w 3217559"/>
              <a:gd name="connsiteY3" fmla="*/ 1608779 h 3217559"/>
              <a:gd name="connsiteX4" fmla="*/ 1 w 3217559"/>
              <a:gd name="connsiteY4" fmla="*/ 1608779 h 3217559"/>
              <a:gd name="connsiteX5" fmla="*/ 1608780 w 3217559"/>
              <a:gd name="connsiteY5" fmla="*/ 0 h 3217559"/>
              <a:gd name="connsiteX6" fmla="*/ 3217558 w 3217559"/>
              <a:gd name="connsiteY6" fmla="*/ 0 h 3217559"/>
              <a:gd name="connsiteX7" fmla="*/ 3217558 w 3217559"/>
              <a:gd name="connsiteY7" fmla="*/ 1608760 h 3217559"/>
              <a:gd name="connsiteX8" fmla="*/ 3217559 w 3217559"/>
              <a:gd name="connsiteY8" fmla="*/ 1608780 h 3217559"/>
              <a:gd name="connsiteX9" fmla="*/ 3217558 w 3217559"/>
              <a:gd name="connsiteY9" fmla="*/ 1608780 h 3217559"/>
              <a:gd name="connsiteX10" fmla="*/ 1608779 w 3217559"/>
              <a:gd name="connsiteY10" fmla="*/ 3217559 h 321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17559" h="3217559">
                <a:moveTo>
                  <a:pt x="1608779" y="3217559"/>
                </a:moveTo>
                <a:lnTo>
                  <a:pt x="1" y="3217559"/>
                </a:lnTo>
                <a:lnTo>
                  <a:pt x="1" y="1608798"/>
                </a:lnTo>
                <a:lnTo>
                  <a:pt x="0" y="1608779"/>
                </a:lnTo>
                <a:lnTo>
                  <a:pt x="1" y="1608779"/>
                </a:lnTo>
                <a:cubicBezTo>
                  <a:pt x="1" y="720275"/>
                  <a:pt x="720276" y="0"/>
                  <a:pt x="1608780" y="0"/>
                </a:cubicBezTo>
                <a:lnTo>
                  <a:pt x="3217558" y="0"/>
                </a:lnTo>
                <a:lnTo>
                  <a:pt x="3217558" y="1608760"/>
                </a:lnTo>
                <a:lnTo>
                  <a:pt x="3217559" y="1608780"/>
                </a:lnTo>
                <a:lnTo>
                  <a:pt x="3217558" y="1608780"/>
                </a:lnTo>
                <a:cubicBezTo>
                  <a:pt x="3217558" y="2497284"/>
                  <a:pt x="2497283" y="3217559"/>
                  <a:pt x="1608779" y="321755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4806" y="2773354"/>
            <a:ext cx="6982680" cy="1429658"/>
          </a:xfrm>
        </p:spPr>
        <p:txBody>
          <a:bodyPr vert="horz" anchor="ctr"/>
          <a:lstStyle>
            <a:lvl1pPr>
              <a:defRPr sz="4000"/>
            </a:lvl1pPr>
          </a:lstStyle>
          <a:p>
            <a:r>
              <a:rPr lang="hr-BA"/>
              <a:t>Thank you!</a:t>
            </a:r>
            <a:endParaRPr lang="en-GB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011FFD4-C986-99CF-C243-C6DA38E6E838}"/>
              </a:ext>
            </a:extLst>
          </p:cNvPr>
          <p:cNvGrpSpPr/>
          <p:nvPr/>
        </p:nvGrpSpPr>
        <p:grpSpPr>
          <a:xfrm flipH="1">
            <a:off x="7804227" y="2232760"/>
            <a:ext cx="4413473" cy="2341442"/>
            <a:chOff x="7619719" y="2245130"/>
            <a:chExt cx="4414211" cy="2341442"/>
          </a:xfrm>
          <a:noFill/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BEB560-3783-7D00-5490-5E5FD16C1E32}"/>
                </a:ext>
              </a:extLst>
            </p:cNvPr>
            <p:cNvGrpSpPr/>
            <p:nvPr userDrawn="1"/>
          </p:nvGrpSpPr>
          <p:grpSpPr>
            <a:xfrm>
              <a:off x="7642044" y="2322588"/>
              <a:ext cx="4236971" cy="2263984"/>
              <a:chOff x="7642044" y="2322588"/>
              <a:chExt cx="4236971" cy="2263984"/>
            </a:xfrm>
            <a:grpFill/>
          </p:grpSpPr>
          <p:sp>
            <p:nvSpPr>
              <p:cNvPr id="77" name="Arc 76">
                <a:extLst>
                  <a:ext uri="{FF2B5EF4-FFF2-40B4-BE49-F238E27FC236}">
                    <a16:creationId xmlns:a16="http://schemas.microsoft.com/office/drawing/2014/main" id="{87B2DEF1-844B-F2A1-9F2D-AC79ADBEDC22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DB8D83BE-1523-80CD-F759-8E24B8A16EC2}"/>
                  </a:ext>
                </a:extLst>
              </p:cNvPr>
              <p:cNvCxnSpPr>
                <a:cxnSpLocks/>
                <a:stCxn id="71" idx="2"/>
              </p:cNvCxnSpPr>
              <p:nvPr userDrawn="1"/>
            </p:nvCxnSpPr>
            <p:spPr>
              <a:xfrm flipH="1">
                <a:off x="8757578" y="2322588"/>
                <a:ext cx="3121437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80C39D3-6CAC-4B72-C7A5-ADF49944F6BE}"/>
                </a:ext>
              </a:extLst>
            </p:cNvPr>
            <p:cNvSpPr/>
            <p:nvPr userDrawn="1"/>
          </p:nvSpPr>
          <p:spPr>
            <a:xfrm>
              <a:off x="11879015" y="2245130"/>
              <a:ext cx="154915" cy="15491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55745CD-694B-70F1-4727-01AB7466907B}"/>
                </a:ext>
              </a:extLst>
            </p:cNvPr>
            <p:cNvGrpSpPr/>
            <p:nvPr userDrawn="1"/>
          </p:nvGrpSpPr>
          <p:grpSpPr>
            <a:xfrm rot="10800000">
              <a:off x="7619719" y="2292361"/>
              <a:ext cx="2266671" cy="2263984"/>
              <a:chOff x="7638060" y="2322588"/>
              <a:chExt cx="2266671" cy="2263984"/>
            </a:xfrm>
            <a:grpFill/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0DB387F6-6F15-FDB3-9CED-CF103AABE1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 flipH="1">
                <a:off x="7638060" y="3432378"/>
                <a:ext cx="0" cy="937728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Arc 73">
                <a:extLst>
                  <a:ext uri="{FF2B5EF4-FFF2-40B4-BE49-F238E27FC236}">
                    <a16:creationId xmlns:a16="http://schemas.microsoft.com/office/drawing/2014/main" id="{9982860C-6C16-8B07-E825-7831A85C904B}"/>
                  </a:ext>
                </a:extLst>
              </p:cNvPr>
              <p:cNvSpPr/>
              <p:nvPr userDrawn="1"/>
            </p:nvSpPr>
            <p:spPr>
              <a:xfrm rot="16200000">
                <a:off x="7642044" y="2323885"/>
                <a:ext cx="2262687" cy="2262687"/>
              </a:xfrm>
              <a:prstGeom prst="arc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3D042C-FB49-9E52-41A6-D91D7BD0CC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0800000">
                <a:off x="8757579" y="2322588"/>
                <a:ext cx="1147152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7" name="Oval 126">
            <a:extLst>
              <a:ext uri="{FF2B5EF4-FFF2-40B4-BE49-F238E27FC236}">
                <a16:creationId xmlns:a16="http://schemas.microsoft.com/office/drawing/2014/main" id="{DBF4DF32-1692-202B-C7F1-AA7872520537}"/>
              </a:ext>
            </a:extLst>
          </p:cNvPr>
          <p:cNvSpPr/>
          <p:nvPr userDrawn="1"/>
        </p:nvSpPr>
        <p:spPr>
          <a:xfrm flipH="1">
            <a:off x="9888218" y="2386119"/>
            <a:ext cx="154889" cy="154915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FB6E3C0E-218D-CD64-821E-56D6007E0635}"/>
              </a:ext>
            </a:extLst>
          </p:cNvPr>
          <p:cNvGrpSpPr/>
          <p:nvPr userDrawn="1"/>
        </p:nvGrpSpPr>
        <p:grpSpPr>
          <a:xfrm>
            <a:off x="3877833" y="-35176"/>
            <a:ext cx="8314167" cy="6912226"/>
            <a:chOff x="3877833" y="-35176"/>
            <a:chExt cx="8314167" cy="6912226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6F23026-9D1F-C24B-4BCB-3B43F563D48A}"/>
                </a:ext>
              </a:extLst>
            </p:cNvPr>
            <p:cNvSpPr/>
            <p:nvPr userDrawn="1"/>
          </p:nvSpPr>
          <p:spPr>
            <a:xfrm rot="10800000">
              <a:off x="5201830" y="1049111"/>
              <a:ext cx="6990170" cy="2341244"/>
            </a:xfrm>
            <a:custGeom>
              <a:avLst/>
              <a:gdLst>
                <a:gd name="connsiteX0" fmla="*/ 4770936 w 4770935"/>
                <a:gd name="connsiteY0" fmla="*/ 1597947 h 1597947"/>
                <a:gd name="connsiteX1" fmla="*/ 3128550 w 4770935"/>
                <a:gd name="connsiteY1" fmla="*/ 1597947 h 1597947"/>
                <a:gd name="connsiteX2" fmla="*/ 2920331 w 4770935"/>
                <a:gd name="connsiteY2" fmla="*/ 1511361 h 1597947"/>
                <a:gd name="connsiteX3" fmla="*/ 2835120 w 4770935"/>
                <a:gd name="connsiteY3" fmla="*/ 1302455 h 1597947"/>
                <a:gd name="connsiteX4" fmla="*/ 2842450 w 4770935"/>
                <a:gd name="connsiteY4" fmla="*/ 295492 h 1597947"/>
                <a:gd name="connsiteX5" fmla="*/ 2758841 w 4770935"/>
                <a:gd name="connsiteY5" fmla="*/ 90709 h 1597947"/>
                <a:gd name="connsiteX6" fmla="*/ 2554746 w 4770935"/>
                <a:gd name="connsiteY6" fmla="*/ 5727 h 1597947"/>
                <a:gd name="connsiteX7" fmla="*/ 950843 w 4770935"/>
                <a:gd name="connsiteY7" fmla="*/ 5727 h 1597947"/>
                <a:gd name="connsiteX8" fmla="*/ 663368 w 4770935"/>
                <a:gd name="connsiteY8" fmla="*/ 291369 h 1597947"/>
                <a:gd name="connsiteX9" fmla="*/ 661536 w 4770935"/>
                <a:gd name="connsiteY9" fmla="*/ 516997 h 1597947"/>
                <a:gd name="connsiteX10" fmla="*/ 1324904 w 4770935"/>
                <a:gd name="connsiteY10" fmla="*/ 516997 h 1597947"/>
                <a:gd name="connsiteX11" fmla="*/ 1618334 w 4770935"/>
                <a:gd name="connsiteY11" fmla="*/ 810656 h 1597947"/>
                <a:gd name="connsiteX12" fmla="*/ 1618334 w 4770935"/>
                <a:gd name="connsiteY12" fmla="*/ 1304517 h 1597947"/>
                <a:gd name="connsiteX13" fmla="*/ 1324904 w 4770935"/>
                <a:gd name="connsiteY13" fmla="*/ 1597947 h 1597947"/>
                <a:gd name="connsiteX14" fmla="*/ 943513 w 4770935"/>
                <a:gd name="connsiteY14" fmla="*/ 1597947 h 1597947"/>
                <a:gd name="connsiteX15" fmla="*/ 735294 w 4770935"/>
                <a:gd name="connsiteY15" fmla="*/ 1511361 h 1597947"/>
                <a:gd name="connsiteX16" fmla="*/ 650082 w 4770935"/>
                <a:gd name="connsiteY16" fmla="*/ 1302455 h 1597947"/>
                <a:gd name="connsiteX17" fmla="*/ 655809 w 4770935"/>
                <a:gd name="connsiteY17" fmla="*/ 522952 h 1597947"/>
                <a:gd name="connsiteX18" fmla="*/ 0 w 4770935"/>
                <a:gd name="connsiteY18" fmla="*/ 522952 h 1597947"/>
                <a:gd name="connsiteX19" fmla="*/ 0 w 4770935"/>
                <a:gd name="connsiteY19" fmla="*/ 516997 h 1597947"/>
                <a:gd name="connsiteX20" fmla="*/ 655809 w 4770935"/>
                <a:gd name="connsiteY20" fmla="*/ 516997 h 1597947"/>
                <a:gd name="connsiteX21" fmla="*/ 657412 w 4770935"/>
                <a:gd name="connsiteY21" fmla="*/ 291140 h 1597947"/>
                <a:gd name="connsiteX22" fmla="*/ 950843 w 4770935"/>
                <a:gd name="connsiteY22" fmla="*/ 0 h 1597947"/>
                <a:gd name="connsiteX23" fmla="*/ 2554746 w 4770935"/>
                <a:gd name="connsiteY23" fmla="*/ 0 h 1597947"/>
                <a:gd name="connsiteX24" fmla="*/ 2762965 w 4770935"/>
                <a:gd name="connsiteY24" fmla="*/ 86586 h 1597947"/>
                <a:gd name="connsiteX25" fmla="*/ 2848176 w 4770935"/>
                <a:gd name="connsiteY25" fmla="*/ 295492 h 1597947"/>
                <a:gd name="connsiteX26" fmla="*/ 2840846 w 4770935"/>
                <a:gd name="connsiteY26" fmla="*/ 1302455 h 1597947"/>
                <a:gd name="connsiteX27" fmla="*/ 2924454 w 4770935"/>
                <a:gd name="connsiteY27" fmla="*/ 1507238 h 1597947"/>
                <a:gd name="connsiteX28" fmla="*/ 3128550 w 4770935"/>
                <a:gd name="connsiteY28" fmla="*/ 1592221 h 1597947"/>
                <a:gd name="connsiteX29" fmla="*/ 4770936 w 4770935"/>
                <a:gd name="connsiteY29" fmla="*/ 1592221 h 1597947"/>
                <a:gd name="connsiteX30" fmla="*/ 661536 w 4770935"/>
                <a:gd name="connsiteY30" fmla="*/ 522723 h 1597947"/>
                <a:gd name="connsiteX31" fmla="*/ 655809 w 4770935"/>
                <a:gd name="connsiteY31" fmla="*/ 1302226 h 1597947"/>
                <a:gd name="connsiteX32" fmla="*/ 739417 w 4770935"/>
                <a:gd name="connsiteY32" fmla="*/ 1507009 h 1597947"/>
                <a:gd name="connsiteX33" fmla="*/ 943513 w 4770935"/>
                <a:gd name="connsiteY33" fmla="*/ 1591992 h 1597947"/>
                <a:gd name="connsiteX34" fmla="*/ 1324904 w 4770935"/>
                <a:gd name="connsiteY34" fmla="*/ 1591992 h 1597947"/>
                <a:gd name="connsiteX35" fmla="*/ 1612607 w 4770935"/>
                <a:gd name="connsiteY35" fmla="*/ 1304517 h 1597947"/>
                <a:gd name="connsiteX36" fmla="*/ 1612607 w 4770935"/>
                <a:gd name="connsiteY36" fmla="*/ 810427 h 1597947"/>
                <a:gd name="connsiteX37" fmla="*/ 1324904 w 4770935"/>
                <a:gd name="connsiteY37" fmla="*/ 522723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770935" h="1597947">
                  <a:moveTo>
                    <a:pt x="4770936" y="1597947"/>
                  </a:moveTo>
                  <a:lnTo>
                    <a:pt x="3128550" y="1597947"/>
                  </a:lnTo>
                  <a:cubicBezTo>
                    <a:pt x="3049752" y="1597947"/>
                    <a:pt x="2975765" y="1567253"/>
                    <a:pt x="2920331" y="1511361"/>
                  </a:cubicBezTo>
                  <a:cubicBezTo>
                    <a:pt x="2864669" y="1455470"/>
                    <a:pt x="2834432" y="1381253"/>
                    <a:pt x="2835120" y="1302455"/>
                  </a:cubicBezTo>
                  <a:lnTo>
                    <a:pt x="2842450" y="295492"/>
                  </a:lnTo>
                  <a:cubicBezTo>
                    <a:pt x="2842908" y="218298"/>
                    <a:pt x="2813359" y="145455"/>
                    <a:pt x="2758841" y="90709"/>
                  </a:cubicBezTo>
                  <a:cubicBezTo>
                    <a:pt x="2704553" y="35963"/>
                    <a:pt x="2631940" y="5727"/>
                    <a:pt x="2554746" y="5727"/>
                  </a:cubicBezTo>
                  <a:lnTo>
                    <a:pt x="950843" y="5727"/>
                  </a:lnTo>
                  <a:cubicBezTo>
                    <a:pt x="793476" y="5727"/>
                    <a:pt x="664513" y="133773"/>
                    <a:pt x="663368" y="291369"/>
                  </a:cubicBezTo>
                  <a:lnTo>
                    <a:pt x="661536" y="516997"/>
                  </a:lnTo>
                  <a:lnTo>
                    <a:pt x="1324904" y="516997"/>
                  </a:lnTo>
                  <a:cubicBezTo>
                    <a:pt x="1486851" y="516997"/>
                    <a:pt x="1618334" y="648708"/>
                    <a:pt x="1618334" y="810656"/>
                  </a:cubicBezTo>
                  <a:lnTo>
                    <a:pt x="1618334" y="1304517"/>
                  </a:lnTo>
                  <a:cubicBezTo>
                    <a:pt x="1618334" y="1466236"/>
                    <a:pt x="1486851" y="1597947"/>
                    <a:pt x="1324904" y="1597947"/>
                  </a:cubicBezTo>
                  <a:lnTo>
                    <a:pt x="943513" y="1597947"/>
                  </a:lnTo>
                  <a:cubicBezTo>
                    <a:pt x="864715" y="1597947"/>
                    <a:pt x="790727" y="1567253"/>
                    <a:pt x="735294" y="1511361"/>
                  </a:cubicBezTo>
                  <a:cubicBezTo>
                    <a:pt x="679861" y="1455470"/>
                    <a:pt x="649395" y="1381253"/>
                    <a:pt x="650082" y="1302455"/>
                  </a:cubicBezTo>
                  <a:lnTo>
                    <a:pt x="655809" y="522952"/>
                  </a:lnTo>
                  <a:lnTo>
                    <a:pt x="0" y="522952"/>
                  </a:lnTo>
                  <a:lnTo>
                    <a:pt x="0" y="516997"/>
                  </a:lnTo>
                  <a:lnTo>
                    <a:pt x="655809" y="516997"/>
                  </a:lnTo>
                  <a:lnTo>
                    <a:pt x="657412" y="291140"/>
                  </a:lnTo>
                  <a:cubicBezTo>
                    <a:pt x="658558" y="130566"/>
                    <a:pt x="790269" y="0"/>
                    <a:pt x="950843" y="0"/>
                  </a:cubicBezTo>
                  <a:lnTo>
                    <a:pt x="2554746" y="0"/>
                  </a:lnTo>
                  <a:cubicBezTo>
                    <a:pt x="2633544" y="0"/>
                    <a:pt x="2707531" y="30695"/>
                    <a:pt x="2762965" y="86586"/>
                  </a:cubicBezTo>
                  <a:cubicBezTo>
                    <a:pt x="2818627" y="142478"/>
                    <a:pt x="2848863" y="216694"/>
                    <a:pt x="2848176" y="295492"/>
                  </a:cubicBezTo>
                  <a:lnTo>
                    <a:pt x="2840846" y="1302455"/>
                  </a:lnTo>
                  <a:cubicBezTo>
                    <a:pt x="2840388" y="1379650"/>
                    <a:pt x="2869937" y="1452263"/>
                    <a:pt x="2924454" y="1507238"/>
                  </a:cubicBezTo>
                  <a:cubicBezTo>
                    <a:pt x="2978742" y="1561984"/>
                    <a:pt x="3051356" y="1592221"/>
                    <a:pt x="3128550" y="1592221"/>
                  </a:cubicBezTo>
                  <a:lnTo>
                    <a:pt x="4770936" y="1592221"/>
                  </a:lnTo>
                  <a:close/>
                  <a:moveTo>
                    <a:pt x="661536" y="522723"/>
                  </a:moveTo>
                  <a:lnTo>
                    <a:pt x="655809" y="1302226"/>
                  </a:lnTo>
                  <a:cubicBezTo>
                    <a:pt x="655351" y="1379650"/>
                    <a:pt x="684900" y="1452263"/>
                    <a:pt x="739417" y="1507009"/>
                  </a:cubicBezTo>
                  <a:cubicBezTo>
                    <a:pt x="793705" y="1561984"/>
                    <a:pt x="866318" y="1591992"/>
                    <a:pt x="943513" y="1591992"/>
                  </a:cubicBezTo>
                  <a:lnTo>
                    <a:pt x="1324904" y="1591992"/>
                  </a:lnTo>
                  <a:cubicBezTo>
                    <a:pt x="1483645" y="1591992"/>
                    <a:pt x="1612607" y="1463029"/>
                    <a:pt x="1612607" y="1304517"/>
                  </a:cubicBezTo>
                  <a:lnTo>
                    <a:pt x="1612607" y="810427"/>
                  </a:lnTo>
                  <a:cubicBezTo>
                    <a:pt x="1612607" y="651915"/>
                    <a:pt x="1483645" y="522723"/>
                    <a:pt x="1324904" y="522723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B25EACA-58A5-8259-E7D4-D54484E3D57F}"/>
                </a:ext>
              </a:extLst>
            </p:cNvPr>
            <p:cNvSpPr/>
            <p:nvPr userDrawn="1"/>
          </p:nvSpPr>
          <p:spPr>
            <a:xfrm rot="10800000">
              <a:off x="8977824" y="65762"/>
              <a:ext cx="3214176" cy="6151470"/>
            </a:xfrm>
            <a:custGeom>
              <a:avLst/>
              <a:gdLst>
                <a:gd name="connsiteX0" fmla="*/ 2193742 w 2193741"/>
                <a:gd name="connsiteY0" fmla="*/ 4198506 h 4198505"/>
                <a:gd name="connsiteX1" fmla="*/ 2187786 w 2193741"/>
                <a:gd name="connsiteY1" fmla="*/ 4198506 h 4198505"/>
                <a:gd name="connsiteX2" fmla="*/ 2187786 w 2193741"/>
                <a:gd name="connsiteY2" fmla="*/ 1205791 h 4198505"/>
                <a:gd name="connsiteX3" fmla="*/ 1900311 w 2193741"/>
                <a:gd name="connsiteY3" fmla="*/ 918087 h 4198505"/>
                <a:gd name="connsiteX4" fmla="*/ 1080951 w 2193741"/>
                <a:gd name="connsiteY4" fmla="*/ 918087 h 4198505"/>
                <a:gd name="connsiteX5" fmla="*/ 787291 w 2193741"/>
                <a:gd name="connsiteY5" fmla="*/ 624656 h 4198505"/>
                <a:gd name="connsiteX6" fmla="*/ 787291 w 2193741"/>
                <a:gd name="connsiteY6" fmla="*/ 293430 h 4198505"/>
                <a:gd name="connsiteX7" fmla="*/ 499817 w 2193741"/>
                <a:gd name="connsiteY7" fmla="*/ 5727 h 4198505"/>
                <a:gd name="connsiteX8" fmla="*/ 0 w 2193741"/>
                <a:gd name="connsiteY8" fmla="*/ 5727 h 4198505"/>
                <a:gd name="connsiteX9" fmla="*/ 0 w 2193741"/>
                <a:gd name="connsiteY9" fmla="*/ 0 h 4198505"/>
                <a:gd name="connsiteX10" fmla="*/ 499817 w 2193741"/>
                <a:gd name="connsiteY10" fmla="*/ 0 h 4198505"/>
                <a:gd name="connsiteX11" fmla="*/ 793247 w 2193741"/>
                <a:gd name="connsiteY11" fmla="*/ 293430 h 4198505"/>
                <a:gd name="connsiteX12" fmla="*/ 793247 w 2193741"/>
                <a:gd name="connsiteY12" fmla="*/ 624656 h 4198505"/>
                <a:gd name="connsiteX13" fmla="*/ 1080951 w 2193741"/>
                <a:gd name="connsiteY13" fmla="*/ 912360 h 4198505"/>
                <a:gd name="connsiteX14" fmla="*/ 1900311 w 2193741"/>
                <a:gd name="connsiteY14" fmla="*/ 912360 h 4198505"/>
                <a:gd name="connsiteX15" fmla="*/ 2193742 w 2193741"/>
                <a:gd name="connsiteY15" fmla="*/ 1205791 h 4198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3741" h="4198505">
                  <a:moveTo>
                    <a:pt x="2193742" y="4198506"/>
                  </a:moveTo>
                  <a:lnTo>
                    <a:pt x="2187786" y="4198506"/>
                  </a:lnTo>
                  <a:lnTo>
                    <a:pt x="2187786" y="1205791"/>
                  </a:lnTo>
                  <a:cubicBezTo>
                    <a:pt x="2187786" y="1047279"/>
                    <a:pt x="2058823" y="918087"/>
                    <a:pt x="1900311" y="918087"/>
                  </a:cubicBezTo>
                  <a:lnTo>
                    <a:pt x="1080951" y="918087"/>
                  </a:lnTo>
                  <a:cubicBezTo>
                    <a:pt x="919003" y="918087"/>
                    <a:pt x="787291" y="786604"/>
                    <a:pt x="787291" y="624656"/>
                  </a:cubicBezTo>
                  <a:lnTo>
                    <a:pt x="787291" y="293430"/>
                  </a:lnTo>
                  <a:cubicBezTo>
                    <a:pt x="787291" y="134918"/>
                    <a:pt x="658329" y="5727"/>
                    <a:pt x="499817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499817" y="0"/>
                  </a:lnTo>
                  <a:cubicBezTo>
                    <a:pt x="661536" y="0"/>
                    <a:pt x="793247" y="131712"/>
                    <a:pt x="793247" y="293430"/>
                  </a:cubicBezTo>
                  <a:lnTo>
                    <a:pt x="793247" y="624656"/>
                  </a:lnTo>
                  <a:cubicBezTo>
                    <a:pt x="793247" y="783397"/>
                    <a:pt x="922210" y="912360"/>
                    <a:pt x="1080951" y="912360"/>
                  </a:cubicBezTo>
                  <a:lnTo>
                    <a:pt x="1900311" y="912360"/>
                  </a:lnTo>
                  <a:cubicBezTo>
                    <a:pt x="2062030" y="912360"/>
                    <a:pt x="2193742" y="1044072"/>
                    <a:pt x="2193742" y="120579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AB0CFDB-9B99-8901-7118-7B1640A88209}"/>
                </a:ext>
              </a:extLst>
            </p:cNvPr>
            <p:cNvSpPr/>
            <p:nvPr userDrawn="1"/>
          </p:nvSpPr>
          <p:spPr>
            <a:xfrm rot="10800000">
              <a:off x="9139591" y="5527546"/>
              <a:ext cx="3052409" cy="1349504"/>
            </a:xfrm>
            <a:custGeom>
              <a:avLst/>
              <a:gdLst>
                <a:gd name="connsiteX0" fmla="*/ 1789903 w 2083332"/>
                <a:gd name="connsiteY0" fmla="*/ 921065 h 921064"/>
                <a:gd name="connsiteX1" fmla="*/ 0 w 2083332"/>
                <a:gd name="connsiteY1" fmla="*/ 921065 h 921064"/>
                <a:gd name="connsiteX2" fmla="*/ 0 w 2083332"/>
                <a:gd name="connsiteY2" fmla="*/ 915338 h 921064"/>
                <a:gd name="connsiteX3" fmla="*/ 1789903 w 2083332"/>
                <a:gd name="connsiteY3" fmla="*/ 915338 h 921064"/>
                <a:gd name="connsiteX4" fmla="*/ 2077377 w 2083332"/>
                <a:gd name="connsiteY4" fmla="*/ 627634 h 921064"/>
                <a:gd name="connsiteX5" fmla="*/ 2077377 w 2083332"/>
                <a:gd name="connsiteY5" fmla="*/ 0 h 921064"/>
                <a:gd name="connsiteX6" fmla="*/ 2083333 w 2083332"/>
                <a:gd name="connsiteY6" fmla="*/ 0 h 921064"/>
                <a:gd name="connsiteX7" fmla="*/ 2083333 w 2083332"/>
                <a:gd name="connsiteY7" fmla="*/ 627634 h 921064"/>
                <a:gd name="connsiteX8" fmla="*/ 1789903 w 2083332"/>
                <a:gd name="connsiteY8" fmla="*/ 921065 h 92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3332" h="921064">
                  <a:moveTo>
                    <a:pt x="1789903" y="921065"/>
                  </a:moveTo>
                  <a:lnTo>
                    <a:pt x="0" y="921065"/>
                  </a:lnTo>
                  <a:lnTo>
                    <a:pt x="0" y="915338"/>
                  </a:lnTo>
                  <a:lnTo>
                    <a:pt x="1789903" y="915338"/>
                  </a:lnTo>
                  <a:cubicBezTo>
                    <a:pt x="1948415" y="915338"/>
                    <a:pt x="2077377" y="786146"/>
                    <a:pt x="2077377" y="627634"/>
                  </a:cubicBezTo>
                  <a:lnTo>
                    <a:pt x="2077377" y="0"/>
                  </a:lnTo>
                  <a:lnTo>
                    <a:pt x="2083333" y="0"/>
                  </a:lnTo>
                  <a:lnTo>
                    <a:pt x="2083333" y="627634"/>
                  </a:lnTo>
                  <a:cubicBezTo>
                    <a:pt x="2083333" y="789353"/>
                    <a:pt x="1951621" y="921065"/>
                    <a:pt x="1789903" y="92106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9F615A1-94D9-A7CF-7CFC-AD28AD0F8042}"/>
                </a:ext>
              </a:extLst>
            </p:cNvPr>
            <p:cNvSpPr/>
            <p:nvPr userDrawn="1"/>
          </p:nvSpPr>
          <p:spPr>
            <a:xfrm rot="10800000">
              <a:off x="10510574" y="65762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EECC672-2EB6-6A53-C2C8-EC2006A2F8E8}"/>
                </a:ext>
              </a:extLst>
            </p:cNvPr>
            <p:cNvSpPr/>
            <p:nvPr userDrawn="1"/>
          </p:nvSpPr>
          <p:spPr>
            <a:xfrm rot="10800000">
              <a:off x="9829801" y="4115481"/>
              <a:ext cx="2362199" cy="10800"/>
            </a:xfrm>
            <a:custGeom>
              <a:avLst/>
              <a:gdLst>
                <a:gd name="connsiteX0" fmla="*/ 1388812 w 1388812"/>
                <a:gd name="connsiteY0" fmla="*/ 5727 h 5726"/>
                <a:gd name="connsiteX1" fmla="*/ 0 w 1388812"/>
                <a:gd name="connsiteY1" fmla="*/ 5727 h 5726"/>
                <a:gd name="connsiteX2" fmla="*/ 0 w 1388812"/>
                <a:gd name="connsiteY2" fmla="*/ 0 h 5726"/>
                <a:gd name="connsiteX3" fmla="*/ 1388812 w 1388812"/>
                <a:gd name="connsiteY3" fmla="*/ 0 h 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812" h="5726">
                  <a:moveTo>
                    <a:pt x="1388812" y="5727"/>
                  </a:moveTo>
                  <a:lnTo>
                    <a:pt x="0" y="5727"/>
                  </a:lnTo>
                  <a:lnTo>
                    <a:pt x="0" y="0"/>
                  </a:lnTo>
                  <a:lnTo>
                    <a:pt x="138881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4F59E00-F405-F259-EB3B-72988FA9CE5E}"/>
                </a:ext>
              </a:extLst>
            </p:cNvPr>
            <p:cNvSpPr/>
            <p:nvPr userDrawn="1"/>
          </p:nvSpPr>
          <p:spPr>
            <a:xfrm rot="10800000">
              <a:off x="10476342" y="597709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CA2226D5-A177-BBE3-B163-EDBAD9BE7FB8}"/>
                </a:ext>
              </a:extLst>
            </p:cNvPr>
            <p:cNvGrpSpPr/>
            <p:nvPr userDrawn="1"/>
          </p:nvGrpSpPr>
          <p:grpSpPr>
            <a:xfrm rot="10800000">
              <a:off x="4516507" y="4335446"/>
              <a:ext cx="5542665" cy="2541604"/>
              <a:chOff x="14458144" y="2217630"/>
              <a:chExt cx="3782983" cy="1734697"/>
            </a:xfrm>
            <a:solidFill>
              <a:schemeClr val="accent6">
                <a:lumMod val="60000"/>
                <a:lumOff val="40000"/>
                <a:alpha val="66000"/>
              </a:schemeClr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D64A478B-E063-53E3-66C4-53CFCFADFD79}"/>
                  </a:ext>
                </a:extLst>
              </p:cNvPr>
              <p:cNvSpPr/>
              <p:nvPr/>
            </p:nvSpPr>
            <p:spPr>
              <a:xfrm>
                <a:off x="14458144" y="2217630"/>
                <a:ext cx="2954919" cy="1693924"/>
              </a:xfrm>
              <a:custGeom>
                <a:avLst/>
                <a:gdLst>
                  <a:gd name="connsiteX0" fmla="*/ 2954920 w 2954919"/>
                  <a:gd name="connsiteY0" fmla="*/ 1693925 h 1693924"/>
                  <a:gd name="connsiteX1" fmla="*/ 1897333 w 2954919"/>
                  <a:gd name="connsiteY1" fmla="*/ 1693925 h 1693924"/>
                  <a:gd name="connsiteX2" fmla="*/ 1603903 w 2954919"/>
                  <a:gd name="connsiteY2" fmla="*/ 1400495 h 1693924"/>
                  <a:gd name="connsiteX3" fmla="*/ 1603903 w 2954919"/>
                  <a:gd name="connsiteY3" fmla="*/ 836769 h 1693924"/>
                  <a:gd name="connsiteX4" fmla="*/ 1316199 w 2954919"/>
                  <a:gd name="connsiteY4" fmla="*/ 549065 h 1693924"/>
                  <a:gd name="connsiteX5" fmla="*/ 293430 w 2954919"/>
                  <a:gd name="connsiteY5" fmla="*/ 549065 h 1693924"/>
                  <a:gd name="connsiteX6" fmla="*/ 0 w 2954919"/>
                  <a:gd name="connsiteY6" fmla="*/ 255635 h 1693924"/>
                  <a:gd name="connsiteX7" fmla="*/ 0 w 2954919"/>
                  <a:gd name="connsiteY7" fmla="*/ 0 h 1693924"/>
                  <a:gd name="connsiteX8" fmla="*/ 5727 w 2954919"/>
                  <a:gd name="connsiteY8" fmla="*/ 0 h 1693924"/>
                  <a:gd name="connsiteX9" fmla="*/ 5727 w 2954919"/>
                  <a:gd name="connsiteY9" fmla="*/ 255635 h 1693924"/>
                  <a:gd name="connsiteX10" fmla="*/ 293430 w 2954919"/>
                  <a:gd name="connsiteY10" fmla="*/ 543339 h 1693924"/>
                  <a:gd name="connsiteX11" fmla="*/ 1316199 w 2954919"/>
                  <a:gd name="connsiteY11" fmla="*/ 543339 h 1693924"/>
                  <a:gd name="connsiteX12" fmla="*/ 1609630 w 2954919"/>
                  <a:gd name="connsiteY12" fmla="*/ 836769 h 1693924"/>
                  <a:gd name="connsiteX13" fmla="*/ 1609630 w 2954919"/>
                  <a:gd name="connsiteY13" fmla="*/ 1400495 h 1693924"/>
                  <a:gd name="connsiteX14" fmla="*/ 1897333 w 2954919"/>
                  <a:gd name="connsiteY14" fmla="*/ 1688198 h 1693924"/>
                  <a:gd name="connsiteX15" fmla="*/ 2954920 w 2954919"/>
                  <a:gd name="connsiteY15" fmla="*/ 1688198 h 169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54919" h="1693924">
                    <a:moveTo>
                      <a:pt x="2954920" y="1693925"/>
                    </a:moveTo>
                    <a:lnTo>
                      <a:pt x="1897333" y="1693925"/>
                    </a:lnTo>
                    <a:cubicBezTo>
                      <a:pt x="1735615" y="1693925"/>
                      <a:pt x="1603903" y="1562214"/>
                      <a:pt x="1603903" y="1400495"/>
                    </a:cubicBezTo>
                    <a:lnTo>
                      <a:pt x="1603903" y="836769"/>
                    </a:lnTo>
                    <a:cubicBezTo>
                      <a:pt x="1603903" y="678257"/>
                      <a:pt x="1474711" y="549065"/>
                      <a:pt x="1316199" y="549065"/>
                    </a:cubicBezTo>
                    <a:lnTo>
                      <a:pt x="293430" y="549065"/>
                    </a:lnTo>
                    <a:cubicBezTo>
                      <a:pt x="131712" y="549065"/>
                      <a:pt x="0" y="417583"/>
                      <a:pt x="0" y="255635"/>
                    </a:cubicBezTo>
                    <a:lnTo>
                      <a:pt x="0" y="0"/>
                    </a:lnTo>
                    <a:lnTo>
                      <a:pt x="5727" y="0"/>
                    </a:lnTo>
                    <a:lnTo>
                      <a:pt x="5727" y="255635"/>
                    </a:lnTo>
                    <a:cubicBezTo>
                      <a:pt x="5727" y="414376"/>
                      <a:pt x="134918" y="543339"/>
                      <a:pt x="293430" y="543339"/>
                    </a:cubicBezTo>
                    <a:lnTo>
                      <a:pt x="1316199" y="543339"/>
                    </a:lnTo>
                    <a:cubicBezTo>
                      <a:pt x="1477918" y="543339"/>
                      <a:pt x="1609630" y="675050"/>
                      <a:pt x="1609630" y="836769"/>
                    </a:cubicBezTo>
                    <a:lnTo>
                      <a:pt x="1609630" y="1400495"/>
                    </a:lnTo>
                    <a:cubicBezTo>
                      <a:pt x="1609630" y="1559007"/>
                      <a:pt x="1738821" y="1688198"/>
                      <a:pt x="1897333" y="1688198"/>
                    </a:cubicBezTo>
                    <a:lnTo>
                      <a:pt x="2954920" y="1688198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A02F5F2-59ED-DCCD-F3C7-49346D3DB69D}"/>
                  </a:ext>
                </a:extLst>
              </p:cNvPr>
              <p:cNvSpPr/>
              <p:nvPr/>
            </p:nvSpPr>
            <p:spPr>
              <a:xfrm>
                <a:off x="15643548" y="2217630"/>
                <a:ext cx="2559785" cy="1095381"/>
              </a:xfrm>
              <a:custGeom>
                <a:avLst/>
                <a:gdLst>
                  <a:gd name="connsiteX0" fmla="*/ 2559785 w 2559785"/>
                  <a:gd name="connsiteY0" fmla="*/ 1095382 h 1095381"/>
                  <a:gd name="connsiteX1" fmla="*/ 293431 w 2559785"/>
                  <a:gd name="connsiteY1" fmla="*/ 1095382 h 1095381"/>
                  <a:gd name="connsiteX2" fmla="*/ 0 w 2559785"/>
                  <a:gd name="connsiteY2" fmla="*/ 801951 h 1095381"/>
                  <a:gd name="connsiteX3" fmla="*/ 0 w 2559785"/>
                  <a:gd name="connsiteY3" fmla="*/ 0 h 1095381"/>
                  <a:gd name="connsiteX4" fmla="*/ 5956 w 2559785"/>
                  <a:gd name="connsiteY4" fmla="*/ 0 h 1095381"/>
                  <a:gd name="connsiteX5" fmla="*/ 5956 w 2559785"/>
                  <a:gd name="connsiteY5" fmla="*/ 801951 h 1095381"/>
                  <a:gd name="connsiteX6" fmla="*/ 293431 w 2559785"/>
                  <a:gd name="connsiteY6" fmla="*/ 1089655 h 1095381"/>
                  <a:gd name="connsiteX7" fmla="*/ 2559785 w 2559785"/>
                  <a:gd name="connsiteY7" fmla="*/ 1089655 h 109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9785" h="1095381">
                    <a:moveTo>
                      <a:pt x="2559785" y="1095382"/>
                    </a:moveTo>
                    <a:lnTo>
                      <a:pt x="293431" y="1095382"/>
                    </a:lnTo>
                    <a:cubicBezTo>
                      <a:pt x="131712" y="1095382"/>
                      <a:pt x="0" y="963670"/>
                      <a:pt x="0" y="801951"/>
                    </a:cubicBezTo>
                    <a:lnTo>
                      <a:pt x="0" y="0"/>
                    </a:lnTo>
                    <a:lnTo>
                      <a:pt x="5956" y="0"/>
                    </a:lnTo>
                    <a:lnTo>
                      <a:pt x="5956" y="801951"/>
                    </a:lnTo>
                    <a:cubicBezTo>
                      <a:pt x="5956" y="960464"/>
                      <a:pt x="134918" y="1089655"/>
                      <a:pt x="293431" y="1089655"/>
                    </a:cubicBezTo>
                    <a:lnTo>
                      <a:pt x="2559785" y="1089655"/>
                    </a:ln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2E7305EC-CF6D-BBF1-D63A-543A49A261BD}"/>
                  </a:ext>
                </a:extLst>
              </p:cNvPr>
              <p:cNvSpPr/>
              <p:nvPr/>
            </p:nvSpPr>
            <p:spPr>
              <a:xfrm>
                <a:off x="17375268" y="3876737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79D2560-2288-E9A2-4652-B05044F7DA25}"/>
                  </a:ext>
                </a:extLst>
              </p:cNvPr>
              <p:cNvSpPr/>
              <p:nvPr/>
            </p:nvSpPr>
            <p:spPr>
              <a:xfrm>
                <a:off x="18165537" y="3272239"/>
                <a:ext cx="75590" cy="75590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1" y="75591"/>
                      <a:pt x="0" y="58640"/>
                      <a:pt x="0" y="37795"/>
                    </a:cubicBezTo>
                    <a:cubicBezTo>
                      <a:pt x="0" y="16951"/>
                      <a:pt x="16951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grpFill/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678CB9F-9B66-075B-BA88-C3B1328C4887}"/>
                </a:ext>
              </a:extLst>
            </p:cNvPr>
            <p:cNvSpPr/>
            <p:nvPr userDrawn="1"/>
          </p:nvSpPr>
          <p:spPr>
            <a:xfrm rot="10800000">
              <a:off x="5146454" y="998099"/>
              <a:ext cx="110751" cy="110416"/>
            </a:xfrm>
            <a:custGeom>
              <a:avLst/>
              <a:gdLst>
                <a:gd name="connsiteX0" fmla="*/ 75591 w 75590"/>
                <a:gd name="connsiteY0" fmla="*/ 37566 h 75361"/>
                <a:gd name="connsiteX1" fmla="*/ 37795 w 75590"/>
                <a:gd name="connsiteY1" fmla="*/ 75362 h 75361"/>
                <a:gd name="connsiteX2" fmla="*/ 0 w 75590"/>
                <a:gd name="connsiteY2" fmla="*/ 37566 h 75361"/>
                <a:gd name="connsiteX3" fmla="*/ 37795 w 75590"/>
                <a:gd name="connsiteY3" fmla="*/ 0 h 75361"/>
                <a:gd name="connsiteX4" fmla="*/ 75591 w 75590"/>
                <a:gd name="connsiteY4" fmla="*/ 37566 h 7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361">
                  <a:moveTo>
                    <a:pt x="75591" y="37566"/>
                  </a:moveTo>
                  <a:cubicBezTo>
                    <a:pt x="75591" y="58640"/>
                    <a:pt x="58640" y="75362"/>
                    <a:pt x="37795" y="75362"/>
                  </a:cubicBezTo>
                  <a:cubicBezTo>
                    <a:pt x="16950" y="75362"/>
                    <a:pt x="0" y="58640"/>
                    <a:pt x="0" y="37566"/>
                  </a:cubicBezTo>
                  <a:cubicBezTo>
                    <a:pt x="0" y="16722"/>
                    <a:pt x="16950" y="0"/>
                    <a:pt x="37795" y="0"/>
                  </a:cubicBezTo>
                  <a:cubicBezTo>
                    <a:pt x="58640" y="0"/>
                    <a:pt x="75591" y="16722"/>
                    <a:pt x="75591" y="37566"/>
                  </a:cubicBezTo>
                  <a:close/>
                </a:path>
              </a:pathLst>
            </a:custGeom>
            <a:solidFill>
              <a:schemeClr val="accent2"/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8526A5A-4A6A-E0B6-D2A5-7BD7FC39A690}"/>
                </a:ext>
              </a:extLst>
            </p:cNvPr>
            <p:cNvGrpSpPr/>
            <p:nvPr userDrawn="1"/>
          </p:nvGrpSpPr>
          <p:grpSpPr>
            <a:xfrm>
              <a:off x="3877833" y="-35176"/>
              <a:ext cx="2869164" cy="2277476"/>
              <a:chOff x="3877833" y="65762"/>
              <a:chExt cx="2869164" cy="2277476"/>
            </a:xfrm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406F695-F7BB-8438-3C30-08D1F9901EB2}"/>
                  </a:ext>
                </a:extLst>
              </p:cNvPr>
              <p:cNvSpPr/>
              <p:nvPr/>
            </p:nvSpPr>
            <p:spPr>
              <a:xfrm rot="10800000">
                <a:off x="3933209" y="65762"/>
                <a:ext cx="2813788" cy="2226463"/>
              </a:xfrm>
              <a:custGeom>
                <a:avLst/>
                <a:gdLst>
                  <a:gd name="connsiteX0" fmla="*/ 5727 w 1920468"/>
                  <a:gd name="connsiteY0" fmla="*/ 1519607 h 1519607"/>
                  <a:gd name="connsiteX1" fmla="*/ 0 w 1920468"/>
                  <a:gd name="connsiteY1" fmla="*/ 1519607 h 1519607"/>
                  <a:gd name="connsiteX2" fmla="*/ 0 w 1920468"/>
                  <a:gd name="connsiteY2" fmla="*/ 293430 h 1519607"/>
                  <a:gd name="connsiteX3" fmla="*/ 293430 w 1920468"/>
                  <a:gd name="connsiteY3" fmla="*/ 0 h 1519607"/>
                  <a:gd name="connsiteX4" fmla="*/ 1920469 w 1920468"/>
                  <a:gd name="connsiteY4" fmla="*/ 0 h 1519607"/>
                  <a:gd name="connsiteX5" fmla="*/ 1920469 w 1920468"/>
                  <a:gd name="connsiteY5" fmla="*/ 5956 h 1519607"/>
                  <a:gd name="connsiteX6" fmla="*/ 293430 w 1920468"/>
                  <a:gd name="connsiteY6" fmla="*/ 5956 h 1519607"/>
                  <a:gd name="connsiteX7" fmla="*/ 5727 w 1920468"/>
                  <a:gd name="connsiteY7" fmla="*/ 293430 h 15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0468" h="1519607">
                    <a:moveTo>
                      <a:pt x="5727" y="1519607"/>
                    </a:moveTo>
                    <a:lnTo>
                      <a:pt x="0" y="1519607"/>
                    </a:lnTo>
                    <a:lnTo>
                      <a:pt x="0" y="293430"/>
                    </a:lnTo>
                    <a:cubicBezTo>
                      <a:pt x="0" y="131712"/>
                      <a:pt x="131483" y="0"/>
                      <a:pt x="293430" y="0"/>
                    </a:cubicBezTo>
                    <a:lnTo>
                      <a:pt x="1920469" y="0"/>
                    </a:lnTo>
                    <a:lnTo>
                      <a:pt x="1920469" y="5956"/>
                    </a:lnTo>
                    <a:lnTo>
                      <a:pt x="293430" y="5956"/>
                    </a:lnTo>
                    <a:cubicBezTo>
                      <a:pt x="134689" y="5956"/>
                      <a:pt x="5727" y="134918"/>
                      <a:pt x="5727" y="2934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0789FA2-2AE7-7C9F-9E92-B748420057D7}"/>
                  </a:ext>
                </a:extLst>
              </p:cNvPr>
              <p:cNvSpPr/>
              <p:nvPr/>
            </p:nvSpPr>
            <p:spPr>
              <a:xfrm rot="10800000">
                <a:off x="3877833" y="2232487"/>
                <a:ext cx="110751" cy="110751"/>
              </a:xfrm>
              <a:custGeom>
                <a:avLst/>
                <a:gdLst>
                  <a:gd name="connsiteX0" fmla="*/ 75591 w 75590"/>
                  <a:gd name="connsiteY0" fmla="*/ 37795 h 75590"/>
                  <a:gd name="connsiteX1" fmla="*/ 37795 w 75590"/>
                  <a:gd name="connsiteY1" fmla="*/ 75591 h 75590"/>
                  <a:gd name="connsiteX2" fmla="*/ 0 w 75590"/>
                  <a:gd name="connsiteY2" fmla="*/ 37795 h 75590"/>
                  <a:gd name="connsiteX3" fmla="*/ 37795 w 75590"/>
                  <a:gd name="connsiteY3" fmla="*/ 0 h 75590"/>
                  <a:gd name="connsiteX4" fmla="*/ 75591 w 75590"/>
                  <a:gd name="connsiteY4" fmla="*/ 37795 h 7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590" h="75590">
                    <a:moveTo>
                      <a:pt x="75591" y="37795"/>
                    </a:moveTo>
                    <a:cubicBezTo>
                      <a:pt x="75591" y="58640"/>
                      <a:pt x="58640" y="75591"/>
                      <a:pt x="37795" y="75591"/>
                    </a:cubicBezTo>
                    <a:cubicBezTo>
                      <a:pt x="16950" y="75591"/>
                      <a:pt x="0" y="58640"/>
                      <a:pt x="0" y="37795"/>
                    </a:cubicBezTo>
                    <a:cubicBezTo>
                      <a:pt x="0" y="16951"/>
                      <a:pt x="16950" y="0"/>
                      <a:pt x="37795" y="0"/>
                    </a:cubicBezTo>
                    <a:cubicBezTo>
                      <a:pt x="58640" y="0"/>
                      <a:pt x="75591" y="16951"/>
                      <a:pt x="75591" y="37795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  <a:alpha val="66000"/>
                </a:schemeClr>
              </a:solidFill>
              <a:ln w="2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1004EE6-88AE-03DE-A35D-29855AF0AE1F}"/>
                </a:ext>
              </a:extLst>
            </p:cNvPr>
            <p:cNvSpPr/>
            <p:nvPr userDrawn="1"/>
          </p:nvSpPr>
          <p:spPr>
            <a:xfrm rot="10800000">
              <a:off x="9792894" y="4071653"/>
              <a:ext cx="110751" cy="110751"/>
            </a:xfrm>
            <a:custGeom>
              <a:avLst/>
              <a:gdLst>
                <a:gd name="connsiteX0" fmla="*/ 75591 w 75590"/>
                <a:gd name="connsiteY0" fmla="*/ 37795 h 75590"/>
                <a:gd name="connsiteX1" fmla="*/ 37795 w 75590"/>
                <a:gd name="connsiteY1" fmla="*/ 75591 h 75590"/>
                <a:gd name="connsiteX2" fmla="*/ 0 w 75590"/>
                <a:gd name="connsiteY2" fmla="*/ 37795 h 75590"/>
                <a:gd name="connsiteX3" fmla="*/ 37795 w 75590"/>
                <a:gd name="connsiteY3" fmla="*/ 0 h 75590"/>
                <a:gd name="connsiteX4" fmla="*/ 75591 w 75590"/>
                <a:gd name="connsiteY4" fmla="*/ 37795 h 7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90" h="75590">
                  <a:moveTo>
                    <a:pt x="75591" y="37795"/>
                  </a:moveTo>
                  <a:cubicBezTo>
                    <a:pt x="75591" y="58640"/>
                    <a:pt x="58640" y="75591"/>
                    <a:pt x="37795" y="75591"/>
                  </a:cubicBezTo>
                  <a:cubicBezTo>
                    <a:pt x="16951" y="75591"/>
                    <a:pt x="0" y="58640"/>
                    <a:pt x="0" y="37795"/>
                  </a:cubicBezTo>
                  <a:cubicBezTo>
                    <a:pt x="0" y="16951"/>
                    <a:pt x="16951" y="0"/>
                    <a:pt x="37795" y="0"/>
                  </a:cubicBezTo>
                  <a:cubicBezTo>
                    <a:pt x="58640" y="0"/>
                    <a:pt x="75591" y="16951"/>
                    <a:pt x="75591" y="3779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6000"/>
              </a:schemeClr>
            </a:solidFill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1612409-5D4B-76CE-C22C-5E9A3522E818}"/>
              </a:ext>
            </a:extLst>
          </p:cNvPr>
          <p:cNvGrpSpPr/>
          <p:nvPr userDrawn="1"/>
        </p:nvGrpSpPr>
        <p:grpSpPr>
          <a:xfrm>
            <a:off x="10462869" y="65761"/>
            <a:ext cx="1715658" cy="1732439"/>
            <a:chOff x="22566503" y="38955"/>
            <a:chExt cx="1715658" cy="1732439"/>
          </a:xfrm>
          <a:solidFill>
            <a:schemeClr val="bg1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A65877-C3AC-A9C4-83A7-686E6269F0FE}"/>
                </a:ext>
              </a:extLst>
            </p:cNvPr>
            <p:cNvSpPr/>
            <p:nvPr userDrawn="1"/>
          </p:nvSpPr>
          <p:spPr>
            <a:xfrm rot="10800000">
              <a:off x="22600735" y="38955"/>
              <a:ext cx="1681426" cy="1732439"/>
            </a:xfrm>
            <a:custGeom>
              <a:avLst/>
              <a:gdLst>
                <a:gd name="connsiteX0" fmla="*/ 1147608 w 1147608"/>
                <a:gd name="connsiteY0" fmla="*/ 1182426 h 1182425"/>
                <a:gd name="connsiteX1" fmla="*/ 1141882 w 1147608"/>
                <a:gd name="connsiteY1" fmla="*/ 1182426 h 1182425"/>
                <a:gd name="connsiteX2" fmla="*/ 1141882 w 1147608"/>
                <a:gd name="connsiteY2" fmla="*/ 293430 h 1182425"/>
                <a:gd name="connsiteX3" fmla="*/ 854178 w 1147608"/>
                <a:gd name="connsiteY3" fmla="*/ 5727 h 1182425"/>
                <a:gd name="connsiteX4" fmla="*/ 0 w 1147608"/>
                <a:gd name="connsiteY4" fmla="*/ 5727 h 1182425"/>
                <a:gd name="connsiteX5" fmla="*/ 0 w 1147608"/>
                <a:gd name="connsiteY5" fmla="*/ 0 h 1182425"/>
                <a:gd name="connsiteX6" fmla="*/ 854178 w 1147608"/>
                <a:gd name="connsiteY6" fmla="*/ 0 h 1182425"/>
                <a:gd name="connsiteX7" fmla="*/ 1147608 w 1147608"/>
                <a:gd name="connsiteY7" fmla="*/ 293430 h 118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7608" h="1182425">
                  <a:moveTo>
                    <a:pt x="1147608" y="1182426"/>
                  </a:moveTo>
                  <a:lnTo>
                    <a:pt x="1141882" y="1182426"/>
                  </a:lnTo>
                  <a:lnTo>
                    <a:pt x="1141882" y="293430"/>
                  </a:lnTo>
                  <a:cubicBezTo>
                    <a:pt x="1141882" y="134689"/>
                    <a:pt x="1012919" y="5727"/>
                    <a:pt x="854178" y="5727"/>
                  </a:cubicBezTo>
                  <a:lnTo>
                    <a:pt x="0" y="5727"/>
                  </a:lnTo>
                  <a:lnTo>
                    <a:pt x="0" y="0"/>
                  </a:lnTo>
                  <a:lnTo>
                    <a:pt x="854178" y="0"/>
                  </a:lnTo>
                  <a:cubicBezTo>
                    <a:pt x="1016126" y="0"/>
                    <a:pt x="1147608" y="131483"/>
                    <a:pt x="1147608" y="293430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E87F074-B25E-8365-9709-327EA6100C2C}"/>
                </a:ext>
              </a:extLst>
            </p:cNvPr>
            <p:cNvSpPr/>
            <p:nvPr userDrawn="1"/>
          </p:nvSpPr>
          <p:spPr>
            <a:xfrm rot="10800000">
              <a:off x="22566503" y="570902"/>
              <a:ext cx="76519" cy="76855"/>
            </a:xfrm>
            <a:custGeom>
              <a:avLst/>
              <a:gdLst>
                <a:gd name="connsiteX0" fmla="*/ 52226 w 52226"/>
                <a:gd name="connsiteY0" fmla="*/ 26342 h 52455"/>
                <a:gd name="connsiteX1" fmla="*/ 26113 w 52226"/>
                <a:gd name="connsiteY1" fmla="*/ 52455 h 52455"/>
                <a:gd name="connsiteX2" fmla="*/ 0 w 52226"/>
                <a:gd name="connsiteY2" fmla="*/ 26342 h 52455"/>
                <a:gd name="connsiteX3" fmla="*/ 26113 w 52226"/>
                <a:gd name="connsiteY3" fmla="*/ 0 h 52455"/>
                <a:gd name="connsiteX4" fmla="*/ 52226 w 52226"/>
                <a:gd name="connsiteY4" fmla="*/ 26342 h 5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52455">
                  <a:moveTo>
                    <a:pt x="52226" y="26342"/>
                  </a:moveTo>
                  <a:cubicBezTo>
                    <a:pt x="52226" y="40773"/>
                    <a:pt x="40544" y="52455"/>
                    <a:pt x="26113" y="52455"/>
                  </a:cubicBezTo>
                  <a:cubicBezTo>
                    <a:pt x="11682" y="52455"/>
                    <a:pt x="0" y="40773"/>
                    <a:pt x="0" y="26342"/>
                  </a:cubicBezTo>
                  <a:cubicBezTo>
                    <a:pt x="0" y="11911"/>
                    <a:pt x="11682" y="0"/>
                    <a:pt x="26113" y="0"/>
                  </a:cubicBezTo>
                  <a:cubicBezTo>
                    <a:pt x="40544" y="0"/>
                    <a:pt x="52226" y="11911"/>
                    <a:pt x="52226" y="26342"/>
                  </a:cubicBezTo>
                  <a:close/>
                </a:path>
              </a:pathLst>
            </a:custGeom>
            <a:grpFill/>
            <a:ln w="2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5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F0320677-2F9E-D948-507E-9BB870E58D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6" y="4847238"/>
            <a:ext cx="2226336" cy="157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61079CF8-4C91-2223-56E4-2F066B689FA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47C6D25-82C7-957E-EDC9-7CE443D7CC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31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8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5E5CFCE9-DE4A-ABB8-4201-21BD1C7351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34940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98109A41-70D4-2F10-01F3-7DA6D11A9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2098" y="3279182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lIns="1080000" tIns="360000" rIns="1080000" bIns="36000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618DEE45-2B99-1FEE-D2C4-97F4FAF1B8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9714" y="239159"/>
            <a:ext cx="5688000" cy="2894400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D14BDF0D-07D5-2F3A-0435-A85A556E6F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17012" y="3283401"/>
            <a:ext cx="5688000" cy="28944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4"/>
          </a:solidFill>
        </p:spPr>
        <p:txBody>
          <a:bodyPr lIns="1080000" tIns="360000" rIns="1080000" bIns="36000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3414DEC0-2C8C-4A18-2F1A-1AE57984C4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2766" y="1593647"/>
            <a:ext cx="3265208" cy="3265208"/>
          </a:xfrm>
          <a:prstGeom prst="ellipse">
            <a:avLst/>
          </a:prstGeom>
          <a:solidFill>
            <a:schemeClr val="bg1">
              <a:alpha val="50000"/>
            </a:schemeClr>
          </a:solidFill>
        </p:spPr>
        <p:txBody>
          <a:bodyPr lIns="360000" rIns="360000" anchor="ctr"/>
          <a:lstStyle>
            <a:lvl1pPr algn="ctr">
              <a:defRPr sz="2800" b="1">
                <a:solidFill>
                  <a:schemeClr val="tx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395338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54604E4-7C10-9FC4-6992-54C54601394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14355" y="2163696"/>
            <a:ext cx="2605091" cy="3293753"/>
          </a:xfrm>
          <a:prstGeom prst="round2DiagRect">
            <a:avLst/>
          </a:prstGeom>
          <a:solidFill>
            <a:schemeClr val="accent3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0BA5BECB-747E-8B07-51BF-DDCD722EF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7192" y="2163696"/>
            <a:ext cx="2605091" cy="3293753"/>
          </a:xfrm>
          <a:prstGeom prst="round2DiagRect">
            <a:avLst/>
          </a:prstGeom>
          <a:solidFill>
            <a:schemeClr val="accent4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126D2EF5-3F55-0A42-DD4E-320A9C6927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00028" y="2163696"/>
            <a:ext cx="2605091" cy="3293753"/>
          </a:xfrm>
          <a:prstGeom prst="round2DiagRect">
            <a:avLst/>
          </a:prstGeom>
          <a:solidFill>
            <a:schemeClr val="accent5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5F4A8FA-C3A3-B3E0-D924-A3187912944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93876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55E44DC8-BD32-5FEE-F262-F1F03B18E3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88408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6703C84-BBE1-0DFD-2581-B09ADEC7BEF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82941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91904201-0168-E3CE-A98B-CE0C53CCE32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21518" y="2163696"/>
            <a:ext cx="2605091" cy="3293753"/>
          </a:xfrm>
          <a:prstGeom prst="round2DiagRect">
            <a:avLst/>
          </a:prstGeom>
          <a:solidFill>
            <a:schemeClr val="accent2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7CAD41AD-D4C1-28B5-44EC-6ABC14F946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9344" y="2334223"/>
            <a:ext cx="1082714" cy="1082711"/>
          </a:xfrm>
          <a:prstGeom prst="ellipse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728741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7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A8814-CB5B-25A4-7336-0B0CAE5D60CC}"/>
              </a:ext>
            </a:extLst>
          </p:cNvPr>
          <p:cNvGrpSpPr/>
          <p:nvPr userDrawn="1"/>
        </p:nvGrpSpPr>
        <p:grpSpPr>
          <a:xfrm>
            <a:off x="5618264" y="-11928"/>
            <a:ext cx="6573736" cy="6869928"/>
            <a:chOff x="5618264" y="-11928"/>
            <a:chExt cx="6573736" cy="6869928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C895D4F-0F7E-BDBE-130A-4CC9D2C9AB06}"/>
                </a:ext>
              </a:extLst>
            </p:cNvPr>
            <p:cNvSpPr/>
            <p:nvPr/>
          </p:nvSpPr>
          <p:spPr>
            <a:xfrm rot="10800000">
              <a:off x="8950152" y="-11928"/>
              <a:ext cx="3241848" cy="6204431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0A76B4A-D11D-83D8-7F3D-81B168AEE614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7E98F74-9FEC-C806-37B5-C988407159FE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69F9E9-3C2C-6A43-9ED6-E6B065B34EF8}"/>
                </a:ext>
              </a:extLst>
            </p:cNvPr>
            <p:cNvSpPr/>
            <p:nvPr/>
          </p:nvSpPr>
          <p:spPr>
            <a:xfrm rot="10800000">
              <a:off x="10496098" y="-11928"/>
              <a:ext cx="1695902" cy="174735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9236CD9-498E-67BC-4B37-9048835FB21F}"/>
                </a:ext>
              </a:extLst>
            </p:cNvPr>
            <p:cNvSpPr/>
            <p:nvPr/>
          </p:nvSpPr>
          <p:spPr>
            <a:xfrm rot="10800000">
              <a:off x="10139654" y="4079903"/>
              <a:ext cx="2052346" cy="8462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0EAC3E2-EA19-DA08-D777-8C8C7087ABA5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7A36DCD-B30C-E512-48FC-AB0412B3E37F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AC8CCC3-800A-EED7-B38D-76F55546558B}"/>
                </a:ext>
              </a:extLst>
            </p:cNvPr>
            <p:cNvSpPr/>
            <p:nvPr/>
          </p:nvSpPr>
          <p:spPr>
            <a:xfrm rot="10800000">
              <a:off x="8915965" y="3891019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97C8F47-0A97-B7D3-A42F-47AFF94B6E8A}"/>
                </a:ext>
              </a:extLst>
            </p:cNvPr>
            <p:cNvSpPr/>
            <p:nvPr/>
          </p:nvSpPr>
          <p:spPr>
            <a:xfrm rot="10800000">
              <a:off x="11251639" y="4045714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A534A68-5F58-5A92-4A0A-2ADFF3B8FA8E}"/>
                </a:ext>
              </a:extLst>
            </p:cNvPr>
            <p:cNvSpPr/>
            <p:nvPr/>
          </p:nvSpPr>
          <p:spPr>
            <a:xfrm rot="10800000">
              <a:off x="8915965" y="3624955"/>
              <a:ext cx="77178" cy="77178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D3EECB0-7005-FB5D-B345-B70AA1AFA7CD}"/>
                </a:ext>
              </a:extLst>
            </p:cNvPr>
            <p:cNvSpPr/>
            <p:nvPr/>
          </p:nvSpPr>
          <p:spPr>
            <a:xfrm rot="10800000">
              <a:off x="10461572" y="524600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1F5BBFC-6025-69CD-07B1-8963E8AA6CDD}"/>
                </a:ext>
              </a:extLst>
            </p:cNvPr>
            <p:cNvSpPr/>
            <p:nvPr/>
          </p:nvSpPr>
          <p:spPr>
            <a:xfrm rot="10800000">
              <a:off x="10083801" y="4028450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3488040-2110-4D2D-91BD-7CB2EF980C23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8825A6C-5C52-87E2-6541-DB22CDB072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783725" y="1651908"/>
            <a:ext cx="3109473" cy="512306"/>
          </a:xfrm>
          <a:prstGeom prst="homePlate">
            <a:avLst/>
          </a:prstGeom>
          <a:solidFill>
            <a:schemeClr val="accent3"/>
          </a:solidFill>
          <a:ln w="85725" cap="rnd">
            <a:solidFill>
              <a:schemeClr val="accent3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29836-9D55-D7E4-8924-AB3474508D1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62990" y="1651908"/>
            <a:ext cx="3109473" cy="512306"/>
          </a:xfrm>
          <a:prstGeom prst="homePlate">
            <a:avLst/>
          </a:prstGeom>
          <a:solidFill>
            <a:schemeClr val="accent5"/>
          </a:solidFill>
          <a:ln w="85725" cap="rnd">
            <a:solidFill>
              <a:schemeClr val="accent5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8A4C0-7761-1368-19FE-9A7A31E8CC0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42254" y="1651908"/>
            <a:ext cx="3109473" cy="512306"/>
          </a:xfrm>
          <a:prstGeom prst="homePlate">
            <a:avLst/>
          </a:prstGeom>
          <a:solidFill>
            <a:schemeClr val="accent4"/>
          </a:solidFill>
          <a:ln w="85725" cap="rnd">
            <a:solidFill>
              <a:schemeClr val="accent4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3BD34E-DB9E-E592-9D6F-DC30B3CF4B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1518" y="1653952"/>
            <a:ext cx="3109473" cy="512306"/>
          </a:xfrm>
          <a:prstGeom prst="homePlate">
            <a:avLst/>
          </a:prstGeom>
          <a:solidFill>
            <a:schemeClr val="accent2"/>
          </a:solidFill>
          <a:ln w="85725" cap="rnd">
            <a:solidFill>
              <a:schemeClr val="accent2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A1C138D-FEAB-3598-043C-10AC4BD0256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16950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CE7B586-155F-6999-B17E-1C3928CBA5F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396215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336D4D1-18BE-1C32-6A27-3C2F0329C3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75479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0036D49-D80E-AECB-59E4-3EE35A7E8D0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54743" y="2346851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806617"/>
      </p:ext>
    </p:extLst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fographic style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7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8825A6C-5C52-87E2-6541-DB22CDB072F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783725" y="1651908"/>
            <a:ext cx="3109473" cy="512306"/>
          </a:xfrm>
          <a:prstGeom prst="homePlate">
            <a:avLst/>
          </a:prstGeom>
          <a:solidFill>
            <a:schemeClr val="accent3"/>
          </a:solidFill>
          <a:ln w="85725" cap="rnd">
            <a:solidFill>
              <a:schemeClr val="accent3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29836-9D55-D7E4-8924-AB3474508D1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62990" y="1651908"/>
            <a:ext cx="3109473" cy="512306"/>
          </a:xfrm>
          <a:prstGeom prst="homePlate">
            <a:avLst/>
          </a:prstGeom>
          <a:solidFill>
            <a:schemeClr val="accent5"/>
          </a:solidFill>
          <a:ln w="85725" cap="rnd">
            <a:solidFill>
              <a:schemeClr val="accent5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8A4C0-7761-1368-19FE-9A7A31E8CC0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42254" y="1651908"/>
            <a:ext cx="3109473" cy="512306"/>
          </a:xfrm>
          <a:prstGeom prst="homePlate">
            <a:avLst/>
          </a:prstGeom>
          <a:solidFill>
            <a:schemeClr val="accent4"/>
          </a:solidFill>
          <a:ln w="85725" cap="rnd">
            <a:solidFill>
              <a:schemeClr val="accent4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3BD34E-DB9E-E592-9D6F-DC30B3CF4B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1518" y="1653952"/>
            <a:ext cx="3109473" cy="512306"/>
          </a:xfrm>
          <a:prstGeom prst="homePlate">
            <a:avLst/>
          </a:prstGeom>
          <a:solidFill>
            <a:schemeClr val="accent2"/>
          </a:solidFill>
          <a:ln w="85725" cap="rnd">
            <a:solidFill>
              <a:schemeClr val="accent2"/>
            </a:solidFill>
            <a:round/>
          </a:ln>
        </p:spPr>
        <p:txBody>
          <a:bodyPr lIns="432000" rIns="72000" anchor="ctr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A1C138D-FEAB-3598-043C-10AC4BD0256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16950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CE7B586-155F-6999-B17E-1C3928CBA5F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396215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336D4D1-18BE-1C32-6A27-3C2F0329C3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75479" y="2344807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0036D49-D80E-AECB-59E4-3EE35A7E8D0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54743" y="2346851"/>
            <a:ext cx="2423507" cy="3591536"/>
          </a:xfrm>
          <a:prstGeom prst="rect">
            <a:avLst/>
          </a:prstGeom>
          <a:noFill/>
          <a:ln w="85725" cap="rnd">
            <a:noFill/>
            <a:round/>
          </a:ln>
        </p:spPr>
        <p:txBody>
          <a:bodyPr lIns="0" tIns="0" rIns="0" anchor="t">
            <a:noAutofit/>
          </a:bodyPr>
          <a:lstStyle>
            <a:lvl1pPr algn="l"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943523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D8FDC81-110F-0ADE-0740-B07FABEB4A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42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7945B7-124A-9AD9-C138-1C96A3879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037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51E5B5E-6FF8-C876-04F2-34A567860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532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CC08023-BB59-B99A-0257-B64BAB1E4B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800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0427C72-5527-C30F-9FB7-61E731484BD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4798" y="2271085"/>
            <a:ext cx="2184402" cy="2761854"/>
          </a:xfrm>
          <a:custGeom>
            <a:avLst/>
            <a:gdLst>
              <a:gd name="connsiteX0" fmla="*/ 277659 w 2184402"/>
              <a:gd name="connsiteY0" fmla="*/ 0 h 2761854"/>
              <a:gd name="connsiteX1" fmla="*/ 552201 w 2184402"/>
              <a:gd name="connsiteY1" fmla="*/ 0 h 2761854"/>
              <a:gd name="connsiteX2" fmla="*/ 1092201 w 2184402"/>
              <a:gd name="connsiteY2" fmla="*/ 540000 h 2761854"/>
              <a:gd name="connsiteX3" fmla="*/ 1632201 w 2184402"/>
              <a:gd name="connsiteY3" fmla="*/ 0 h 2761854"/>
              <a:gd name="connsiteX4" fmla="*/ 1906743 w 2184402"/>
              <a:gd name="connsiteY4" fmla="*/ 0 h 2761854"/>
              <a:gd name="connsiteX5" fmla="*/ 2184402 w 2184402"/>
              <a:gd name="connsiteY5" fmla="*/ 277659 h 2761854"/>
              <a:gd name="connsiteX6" fmla="*/ 2184402 w 2184402"/>
              <a:gd name="connsiteY6" fmla="*/ 2484195 h 2761854"/>
              <a:gd name="connsiteX7" fmla="*/ 1906743 w 2184402"/>
              <a:gd name="connsiteY7" fmla="*/ 2761854 h 2761854"/>
              <a:gd name="connsiteX8" fmla="*/ 277659 w 2184402"/>
              <a:gd name="connsiteY8" fmla="*/ 2761854 h 2761854"/>
              <a:gd name="connsiteX9" fmla="*/ 0 w 2184402"/>
              <a:gd name="connsiteY9" fmla="*/ 2484195 h 2761854"/>
              <a:gd name="connsiteX10" fmla="*/ 0 w 2184402"/>
              <a:gd name="connsiteY10" fmla="*/ 277659 h 2761854"/>
              <a:gd name="connsiteX11" fmla="*/ 277659 w 2184402"/>
              <a:gd name="connsiteY11" fmla="*/ 0 h 2761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84402" h="2761854">
                <a:moveTo>
                  <a:pt x="277659" y="0"/>
                </a:moveTo>
                <a:lnTo>
                  <a:pt x="552201" y="0"/>
                </a:lnTo>
                <a:cubicBezTo>
                  <a:pt x="552201" y="298234"/>
                  <a:pt x="793967" y="540000"/>
                  <a:pt x="1092201" y="540000"/>
                </a:cubicBezTo>
                <a:cubicBezTo>
                  <a:pt x="1390435" y="540000"/>
                  <a:pt x="1632201" y="298234"/>
                  <a:pt x="1632201" y="0"/>
                </a:cubicBezTo>
                <a:lnTo>
                  <a:pt x="1906743" y="0"/>
                </a:lnTo>
                <a:cubicBezTo>
                  <a:pt x="2060090" y="0"/>
                  <a:pt x="2184402" y="124312"/>
                  <a:pt x="2184402" y="277659"/>
                </a:cubicBezTo>
                <a:lnTo>
                  <a:pt x="2184402" y="2484195"/>
                </a:lnTo>
                <a:cubicBezTo>
                  <a:pt x="2184402" y="2637542"/>
                  <a:pt x="2060090" y="2761854"/>
                  <a:pt x="1906743" y="2761854"/>
                </a:cubicBezTo>
                <a:lnTo>
                  <a:pt x="277659" y="2761854"/>
                </a:lnTo>
                <a:cubicBezTo>
                  <a:pt x="124312" y="2761854"/>
                  <a:pt x="0" y="2637542"/>
                  <a:pt x="0" y="2484195"/>
                </a:cubicBezTo>
                <a:lnTo>
                  <a:pt x="0" y="277659"/>
                </a:lnTo>
                <a:cubicBezTo>
                  <a:pt x="0" y="124312"/>
                  <a:pt x="124312" y="0"/>
                  <a:pt x="27765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5F4A8FA-C3A3-B3E0-D924-A3187912944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176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55E44DC8-BD32-5FEE-F262-F1F03B18E3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671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6703C84-BBE1-0DFD-2581-B09ADEC7BEF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166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B5BD0598-3569-EB9A-FECB-03D68A1E49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266112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7CAD41AD-D4C1-28B5-44EC-6ABC14F946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8110" y="1731085"/>
            <a:ext cx="1080000" cy="1080000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433741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07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FB94ED7-F661-9959-F4B8-642741D973F8}"/>
              </a:ext>
            </a:extLst>
          </p:cNvPr>
          <p:cNvSpPr/>
          <p:nvPr/>
        </p:nvSpPr>
        <p:spPr>
          <a:xfrm rot="10800000">
            <a:off x="10496098" y="-11928"/>
            <a:ext cx="1695902" cy="1747355"/>
          </a:xfrm>
          <a:custGeom>
            <a:avLst/>
            <a:gdLst>
              <a:gd name="connsiteX0" fmla="*/ 1572808 w 1572807"/>
              <a:gd name="connsiteY0" fmla="*/ 1620525 h 1620525"/>
              <a:gd name="connsiteX1" fmla="*/ 1564959 w 1572807"/>
              <a:gd name="connsiteY1" fmla="*/ 1620525 h 1620525"/>
              <a:gd name="connsiteX2" fmla="*/ 1564959 w 1572807"/>
              <a:gd name="connsiteY2" fmla="*/ 402149 h 1620525"/>
              <a:gd name="connsiteX3" fmla="*/ 1170659 w 1572807"/>
              <a:gd name="connsiteY3" fmla="*/ 7848 h 1620525"/>
              <a:gd name="connsiteX4" fmla="*/ 0 w 1572807"/>
              <a:gd name="connsiteY4" fmla="*/ 7848 h 1620525"/>
              <a:gd name="connsiteX5" fmla="*/ 0 w 1572807"/>
              <a:gd name="connsiteY5" fmla="*/ 0 h 1620525"/>
              <a:gd name="connsiteX6" fmla="*/ 1170659 w 1572807"/>
              <a:gd name="connsiteY6" fmla="*/ 0 h 1620525"/>
              <a:gd name="connsiteX7" fmla="*/ 1572808 w 1572807"/>
              <a:gd name="connsiteY7" fmla="*/ 402149 h 162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2807" h="1620525">
                <a:moveTo>
                  <a:pt x="1572808" y="1620525"/>
                </a:moveTo>
                <a:lnTo>
                  <a:pt x="1564959" y="1620525"/>
                </a:lnTo>
                <a:lnTo>
                  <a:pt x="1564959" y="402149"/>
                </a:lnTo>
                <a:cubicBezTo>
                  <a:pt x="1564959" y="184593"/>
                  <a:pt x="1388215" y="7848"/>
                  <a:pt x="1170659" y="7848"/>
                </a:cubicBezTo>
                <a:lnTo>
                  <a:pt x="0" y="7848"/>
                </a:lnTo>
                <a:lnTo>
                  <a:pt x="0" y="0"/>
                </a:lnTo>
                <a:lnTo>
                  <a:pt x="1170659" y="0"/>
                </a:lnTo>
                <a:cubicBezTo>
                  <a:pt x="1392610" y="0"/>
                  <a:pt x="1572808" y="180198"/>
                  <a:pt x="1572808" y="40214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B75FD7-7245-E3E0-4B2B-4C91ED3E606A}"/>
              </a:ext>
            </a:extLst>
          </p:cNvPr>
          <p:cNvSpPr/>
          <p:nvPr/>
        </p:nvSpPr>
        <p:spPr>
          <a:xfrm rot="10800000">
            <a:off x="10461572" y="524600"/>
            <a:ext cx="77178" cy="77516"/>
          </a:xfrm>
          <a:custGeom>
            <a:avLst/>
            <a:gdLst>
              <a:gd name="connsiteX0" fmla="*/ 71577 w 71576"/>
              <a:gd name="connsiteY0" fmla="*/ 36102 h 71890"/>
              <a:gd name="connsiteX1" fmla="*/ 35788 w 71576"/>
              <a:gd name="connsiteY1" fmla="*/ 71890 h 71890"/>
              <a:gd name="connsiteX2" fmla="*/ 0 w 71576"/>
              <a:gd name="connsiteY2" fmla="*/ 36102 h 71890"/>
              <a:gd name="connsiteX3" fmla="*/ 35788 w 71576"/>
              <a:gd name="connsiteY3" fmla="*/ 0 h 71890"/>
              <a:gd name="connsiteX4" fmla="*/ 71577 w 71576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890">
                <a:moveTo>
                  <a:pt x="71577" y="36102"/>
                </a:moveTo>
                <a:cubicBezTo>
                  <a:pt x="71577" y="55880"/>
                  <a:pt x="55566" y="71890"/>
                  <a:pt x="35788" y="71890"/>
                </a:cubicBezTo>
                <a:cubicBezTo>
                  <a:pt x="16011" y="71890"/>
                  <a:pt x="0" y="55880"/>
                  <a:pt x="0" y="36102"/>
                </a:cubicBezTo>
                <a:cubicBezTo>
                  <a:pt x="0" y="16324"/>
                  <a:pt x="16011" y="0"/>
                  <a:pt x="35788" y="0"/>
                </a:cubicBezTo>
                <a:cubicBezTo>
                  <a:pt x="55566" y="0"/>
                  <a:pt x="71577" y="16324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C2C8E55E-B647-6390-1F08-23A789B44B9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56132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6F9C2F7-23C6-7BBF-E3D7-393FF8F3BB6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56132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EC2C3-A751-10C0-230A-D02E2F919E4D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CFC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F160CDA-D43C-87E8-33BC-D670AAD4FC2F}"/>
              </a:ext>
            </a:extLst>
          </p:cNvPr>
          <p:cNvSpPr/>
          <p:nvPr/>
        </p:nvSpPr>
        <p:spPr>
          <a:xfrm rot="10800000" flipV="1">
            <a:off x="9117505" y="-11930"/>
            <a:ext cx="3078689" cy="1361123"/>
          </a:xfrm>
          <a:custGeom>
            <a:avLst/>
            <a:gdLst>
              <a:gd name="connsiteX0" fmla="*/ 2453078 w 2855226"/>
              <a:gd name="connsiteY0" fmla="*/ 1262327 h 1262327"/>
              <a:gd name="connsiteX1" fmla="*/ 0 w 2855226"/>
              <a:gd name="connsiteY1" fmla="*/ 1262327 h 1262327"/>
              <a:gd name="connsiteX2" fmla="*/ 0 w 2855226"/>
              <a:gd name="connsiteY2" fmla="*/ 1254479 h 1262327"/>
              <a:gd name="connsiteX3" fmla="*/ 2453078 w 2855226"/>
              <a:gd name="connsiteY3" fmla="*/ 1254479 h 1262327"/>
              <a:gd name="connsiteX4" fmla="*/ 2847064 w 2855226"/>
              <a:gd name="connsiteY4" fmla="*/ 860178 h 1262327"/>
              <a:gd name="connsiteX5" fmla="*/ 2847064 w 2855226"/>
              <a:gd name="connsiteY5" fmla="*/ 0 h 1262327"/>
              <a:gd name="connsiteX6" fmla="*/ 2855227 w 2855226"/>
              <a:gd name="connsiteY6" fmla="*/ 0 h 1262327"/>
              <a:gd name="connsiteX7" fmla="*/ 2855227 w 2855226"/>
              <a:gd name="connsiteY7" fmla="*/ 860178 h 1262327"/>
              <a:gd name="connsiteX8" fmla="*/ 2453078 w 2855226"/>
              <a:gd name="connsiteY8" fmla="*/ 1262327 h 1262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55226" h="1262327">
                <a:moveTo>
                  <a:pt x="2453078" y="1262327"/>
                </a:moveTo>
                <a:lnTo>
                  <a:pt x="0" y="1262327"/>
                </a:lnTo>
                <a:lnTo>
                  <a:pt x="0" y="1254479"/>
                </a:lnTo>
                <a:lnTo>
                  <a:pt x="2453078" y="1254479"/>
                </a:lnTo>
                <a:cubicBezTo>
                  <a:pt x="2670320" y="1254479"/>
                  <a:pt x="2847064" y="1077420"/>
                  <a:pt x="2847064" y="860178"/>
                </a:cubicBezTo>
                <a:lnTo>
                  <a:pt x="2847064" y="0"/>
                </a:lnTo>
                <a:lnTo>
                  <a:pt x="2855227" y="0"/>
                </a:lnTo>
                <a:lnTo>
                  <a:pt x="2855227" y="860178"/>
                </a:lnTo>
                <a:cubicBezTo>
                  <a:pt x="2855227" y="1081815"/>
                  <a:pt x="2674715" y="1262327"/>
                  <a:pt x="2453078" y="1262327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A4AA833-AB5F-A1A5-5D62-1795608F3338}"/>
              </a:ext>
            </a:extLst>
          </p:cNvPr>
          <p:cNvSpPr/>
          <p:nvPr/>
        </p:nvSpPr>
        <p:spPr>
          <a:xfrm rot="10800000" flipV="1">
            <a:off x="5678311" y="-11930"/>
            <a:ext cx="4366694" cy="2503234"/>
          </a:xfrm>
          <a:custGeom>
            <a:avLst/>
            <a:gdLst>
              <a:gd name="connsiteX0" fmla="*/ 4049744 w 4049743"/>
              <a:gd name="connsiteY0" fmla="*/ 2321539 h 2321539"/>
              <a:gd name="connsiteX1" fmla="*/ 2600312 w 4049743"/>
              <a:gd name="connsiteY1" fmla="*/ 2321539 h 2321539"/>
              <a:gd name="connsiteX2" fmla="*/ 2198164 w 4049743"/>
              <a:gd name="connsiteY2" fmla="*/ 1919390 h 2321539"/>
              <a:gd name="connsiteX3" fmla="*/ 2198164 w 4049743"/>
              <a:gd name="connsiteY3" fmla="*/ 1146800 h 2321539"/>
              <a:gd name="connsiteX4" fmla="*/ 1803863 w 4049743"/>
              <a:gd name="connsiteY4" fmla="*/ 752499 h 2321539"/>
              <a:gd name="connsiteX5" fmla="*/ 402149 w 4049743"/>
              <a:gd name="connsiteY5" fmla="*/ 752499 h 2321539"/>
              <a:gd name="connsiteX6" fmla="*/ 0 w 4049743"/>
              <a:gd name="connsiteY6" fmla="*/ 350350 h 2321539"/>
              <a:gd name="connsiteX7" fmla="*/ 0 w 4049743"/>
              <a:gd name="connsiteY7" fmla="*/ 0 h 2321539"/>
              <a:gd name="connsiteX8" fmla="*/ 7848 w 4049743"/>
              <a:gd name="connsiteY8" fmla="*/ 0 h 2321539"/>
              <a:gd name="connsiteX9" fmla="*/ 7848 w 4049743"/>
              <a:gd name="connsiteY9" fmla="*/ 350350 h 2321539"/>
              <a:gd name="connsiteX10" fmla="*/ 402149 w 4049743"/>
              <a:gd name="connsiteY10" fmla="*/ 744651 h 2321539"/>
              <a:gd name="connsiteX11" fmla="*/ 1803863 w 4049743"/>
              <a:gd name="connsiteY11" fmla="*/ 744651 h 2321539"/>
              <a:gd name="connsiteX12" fmla="*/ 2206012 w 4049743"/>
              <a:gd name="connsiteY12" fmla="*/ 1146800 h 2321539"/>
              <a:gd name="connsiteX13" fmla="*/ 2206012 w 4049743"/>
              <a:gd name="connsiteY13" fmla="*/ 1919390 h 2321539"/>
              <a:gd name="connsiteX14" fmla="*/ 2600312 w 4049743"/>
              <a:gd name="connsiteY14" fmla="*/ 2313691 h 2321539"/>
              <a:gd name="connsiteX15" fmla="*/ 4049744 w 4049743"/>
              <a:gd name="connsiteY15" fmla="*/ 2313691 h 2321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49743" h="2321539">
                <a:moveTo>
                  <a:pt x="4049744" y="2321539"/>
                </a:moveTo>
                <a:lnTo>
                  <a:pt x="2600312" y="2321539"/>
                </a:lnTo>
                <a:cubicBezTo>
                  <a:pt x="2378675" y="2321539"/>
                  <a:pt x="2198164" y="2141028"/>
                  <a:pt x="2198164" y="1919390"/>
                </a:cubicBezTo>
                <a:lnTo>
                  <a:pt x="2198164" y="1146800"/>
                </a:lnTo>
                <a:cubicBezTo>
                  <a:pt x="2198164" y="929557"/>
                  <a:pt x="2021105" y="752499"/>
                  <a:pt x="1803863" y="752499"/>
                </a:cubicBezTo>
                <a:lnTo>
                  <a:pt x="402149" y="752499"/>
                </a:lnTo>
                <a:cubicBezTo>
                  <a:pt x="180512" y="752499"/>
                  <a:pt x="0" y="572301"/>
                  <a:pt x="0" y="350350"/>
                </a:cubicBezTo>
                <a:lnTo>
                  <a:pt x="0" y="0"/>
                </a:lnTo>
                <a:lnTo>
                  <a:pt x="7848" y="0"/>
                </a:lnTo>
                <a:lnTo>
                  <a:pt x="7848" y="350350"/>
                </a:lnTo>
                <a:cubicBezTo>
                  <a:pt x="7848" y="567906"/>
                  <a:pt x="184907" y="744651"/>
                  <a:pt x="402149" y="744651"/>
                </a:cubicBezTo>
                <a:lnTo>
                  <a:pt x="1803863" y="744651"/>
                </a:lnTo>
                <a:cubicBezTo>
                  <a:pt x="2025500" y="744651"/>
                  <a:pt x="2206012" y="925162"/>
                  <a:pt x="2206012" y="1146800"/>
                </a:cubicBezTo>
                <a:lnTo>
                  <a:pt x="2206012" y="1919390"/>
                </a:lnTo>
                <a:cubicBezTo>
                  <a:pt x="2206012" y="2136632"/>
                  <a:pt x="2383071" y="2313691"/>
                  <a:pt x="2600312" y="2313691"/>
                </a:cubicBezTo>
                <a:lnTo>
                  <a:pt x="4049744" y="231369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D075F759-5FB6-5312-8DBC-8C55D04662BA}"/>
              </a:ext>
            </a:extLst>
          </p:cNvPr>
          <p:cNvSpPr/>
          <p:nvPr/>
        </p:nvSpPr>
        <p:spPr>
          <a:xfrm rot="10800000" flipV="1">
            <a:off x="10143848" y="2757706"/>
            <a:ext cx="2052346" cy="8462"/>
          </a:xfrm>
          <a:custGeom>
            <a:avLst/>
            <a:gdLst>
              <a:gd name="connsiteX0" fmla="*/ 1903380 w 1903379"/>
              <a:gd name="connsiteY0" fmla="*/ 7848 h 7848"/>
              <a:gd name="connsiteX1" fmla="*/ 0 w 1903379"/>
              <a:gd name="connsiteY1" fmla="*/ 7848 h 7848"/>
              <a:gd name="connsiteX2" fmla="*/ 0 w 1903379"/>
              <a:gd name="connsiteY2" fmla="*/ 0 h 7848"/>
              <a:gd name="connsiteX3" fmla="*/ 1903380 w 1903379"/>
              <a:gd name="connsiteY3" fmla="*/ 0 h 7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379" h="7848">
                <a:moveTo>
                  <a:pt x="1903380" y="7848"/>
                </a:moveTo>
                <a:lnTo>
                  <a:pt x="0" y="7848"/>
                </a:lnTo>
                <a:lnTo>
                  <a:pt x="0" y="0"/>
                </a:lnTo>
                <a:lnTo>
                  <a:pt x="190338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C462D35-964A-96DC-03CA-27B200AAA61C}"/>
              </a:ext>
            </a:extLst>
          </p:cNvPr>
          <p:cNvSpPr/>
          <p:nvPr/>
        </p:nvSpPr>
        <p:spPr>
          <a:xfrm rot="10800000" flipV="1">
            <a:off x="8714010" y="756472"/>
            <a:ext cx="77179" cy="77516"/>
          </a:xfrm>
          <a:custGeom>
            <a:avLst/>
            <a:gdLst>
              <a:gd name="connsiteX0" fmla="*/ 71577 w 71577"/>
              <a:gd name="connsiteY0" fmla="*/ 36102 h 71890"/>
              <a:gd name="connsiteX1" fmla="*/ 35789 w 71577"/>
              <a:gd name="connsiteY1" fmla="*/ 71891 h 71890"/>
              <a:gd name="connsiteX2" fmla="*/ 0 w 71577"/>
              <a:gd name="connsiteY2" fmla="*/ 36102 h 71890"/>
              <a:gd name="connsiteX3" fmla="*/ 35789 w 71577"/>
              <a:gd name="connsiteY3" fmla="*/ 0 h 71890"/>
              <a:gd name="connsiteX4" fmla="*/ 71577 w 71577"/>
              <a:gd name="connsiteY4" fmla="*/ 36102 h 71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7" h="71890">
                <a:moveTo>
                  <a:pt x="71577" y="36102"/>
                </a:moveTo>
                <a:cubicBezTo>
                  <a:pt x="71577" y="55880"/>
                  <a:pt x="55566" y="71891"/>
                  <a:pt x="35789" y="71891"/>
                </a:cubicBezTo>
                <a:cubicBezTo>
                  <a:pt x="16011" y="71891"/>
                  <a:pt x="0" y="55880"/>
                  <a:pt x="0" y="36102"/>
                </a:cubicBezTo>
                <a:cubicBezTo>
                  <a:pt x="0" y="16325"/>
                  <a:pt x="16011" y="0"/>
                  <a:pt x="35789" y="0"/>
                </a:cubicBezTo>
                <a:cubicBezTo>
                  <a:pt x="55566" y="0"/>
                  <a:pt x="71577" y="16325"/>
                  <a:pt x="71577" y="36102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21A0CD4-FE7A-B0F9-12DA-2B4F19F8AAAD}"/>
              </a:ext>
            </a:extLst>
          </p:cNvPr>
          <p:cNvSpPr/>
          <p:nvPr/>
        </p:nvSpPr>
        <p:spPr>
          <a:xfrm rot="10800000" flipV="1">
            <a:off x="10294145" y="1306202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9 w 71576"/>
              <a:gd name="connsiteY1" fmla="*/ 71577 h 71576"/>
              <a:gd name="connsiteX2" fmla="*/ 0 w 71576"/>
              <a:gd name="connsiteY2" fmla="*/ 35788 h 71576"/>
              <a:gd name="connsiteX3" fmla="*/ 35789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9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9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A0E8D24-BA19-D4AE-744B-55DEAA32C6AD}"/>
              </a:ext>
            </a:extLst>
          </p:cNvPr>
          <p:cNvSpPr/>
          <p:nvPr/>
        </p:nvSpPr>
        <p:spPr>
          <a:xfrm rot="10800000" flipV="1">
            <a:off x="11255833" y="2723179"/>
            <a:ext cx="77178" cy="77178"/>
          </a:xfrm>
          <a:custGeom>
            <a:avLst/>
            <a:gdLst>
              <a:gd name="connsiteX0" fmla="*/ 71577 w 71576"/>
              <a:gd name="connsiteY0" fmla="*/ 35788 h 71576"/>
              <a:gd name="connsiteX1" fmla="*/ 35788 w 71576"/>
              <a:gd name="connsiteY1" fmla="*/ 71577 h 71576"/>
              <a:gd name="connsiteX2" fmla="*/ 0 w 71576"/>
              <a:gd name="connsiteY2" fmla="*/ 35788 h 71576"/>
              <a:gd name="connsiteX3" fmla="*/ 35788 w 71576"/>
              <a:gd name="connsiteY3" fmla="*/ 0 h 71576"/>
              <a:gd name="connsiteX4" fmla="*/ 71577 w 71576"/>
              <a:gd name="connsiteY4" fmla="*/ 35788 h 7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76" h="71576">
                <a:moveTo>
                  <a:pt x="71577" y="35788"/>
                </a:moveTo>
                <a:cubicBezTo>
                  <a:pt x="71577" y="55566"/>
                  <a:pt x="55566" y="71577"/>
                  <a:pt x="35788" y="71577"/>
                </a:cubicBezTo>
                <a:cubicBezTo>
                  <a:pt x="16011" y="71577"/>
                  <a:pt x="0" y="55566"/>
                  <a:pt x="0" y="35788"/>
                </a:cubicBezTo>
                <a:cubicBezTo>
                  <a:pt x="0" y="16011"/>
                  <a:pt x="16011" y="0"/>
                  <a:pt x="35788" y="0"/>
                </a:cubicBezTo>
                <a:cubicBezTo>
                  <a:pt x="55566" y="0"/>
                  <a:pt x="71577" y="16011"/>
                  <a:pt x="71577" y="35788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1D0C353-02C7-6D2B-86E0-4073E45C4CF0}"/>
              </a:ext>
            </a:extLst>
          </p:cNvPr>
          <p:cNvGrpSpPr/>
          <p:nvPr userDrawn="1"/>
        </p:nvGrpSpPr>
        <p:grpSpPr>
          <a:xfrm>
            <a:off x="4442606" y="3569436"/>
            <a:ext cx="7672216" cy="3288564"/>
            <a:chOff x="5618264" y="4298914"/>
            <a:chExt cx="6577930" cy="25590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989E85E-A138-6A1E-3A42-15DA57F9FA01}"/>
                </a:ext>
              </a:extLst>
            </p:cNvPr>
            <p:cNvSpPr/>
            <p:nvPr/>
          </p:nvSpPr>
          <p:spPr>
            <a:xfrm rot="10800000">
              <a:off x="9113311" y="5496877"/>
              <a:ext cx="3078689" cy="1361123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0E5F3EE-F8CF-64BE-8C08-DCEC923B13AA}"/>
                </a:ext>
              </a:extLst>
            </p:cNvPr>
            <p:cNvSpPr/>
            <p:nvPr/>
          </p:nvSpPr>
          <p:spPr>
            <a:xfrm rot="10800000">
              <a:off x="5674117" y="4354767"/>
              <a:ext cx="4366694" cy="2503233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F2740B-E3A6-8B75-FC42-9A26981FC994}"/>
                </a:ext>
              </a:extLst>
            </p:cNvPr>
            <p:cNvSpPr/>
            <p:nvPr/>
          </p:nvSpPr>
          <p:spPr>
            <a:xfrm rot="10800000">
              <a:off x="8709816" y="6012082"/>
              <a:ext cx="77179" cy="77516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0A43D64-A64F-0ABD-E48B-F52F886E0DD6}"/>
                </a:ext>
              </a:extLst>
            </p:cNvPr>
            <p:cNvSpPr/>
            <p:nvPr/>
          </p:nvSpPr>
          <p:spPr>
            <a:xfrm rot="10800000">
              <a:off x="10289951" y="5462690"/>
              <a:ext cx="77178" cy="77178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92DD9D8-022A-0F57-1E4E-3FD087178C08}"/>
                </a:ext>
              </a:extLst>
            </p:cNvPr>
            <p:cNvSpPr/>
            <p:nvPr userDrawn="1"/>
          </p:nvSpPr>
          <p:spPr>
            <a:xfrm rot="10800000">
              <a:off x="5618264" y="4298914"/>
              <a:ext cx="111706" cy="111706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926C0BA-A2FB-3700-4757-2C898B343143}"/>
                </a:ext>
              </a:extLst>
            </p:cNvPr>
            <p:cNvSpPr/>
            <p:nvPr/>
          </p:nvSpPr>
          <p:spPr>
            <a:xfrm rot="10800000" flipV="1">
              <a:off x="10500292" y="5110644"/>
              <a:ext cx="1695902" cy="1747356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9D5B09B-BB1C-3EA2-EC88-615B61B34A5B}"/>
                </a:ext>
              </a:extLst>
            </p:cNvPr>
            <p:cNvSpPr/>
            <p:nvPr/>
          </p:nvSpPr>
          <p:spPr>
            <a:xfrm rot="10800000" flipV="1">
              <a:off x="10465766" y="6243956"/>
              <a:ext cx="77178" cy="77516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DC5A141-A974-1098-4635-C08B65B59EED}"/>
              </a:ext>
            </a:extLst>
          </p:cNvPr>
          <p:cNvSpPr/>
          <p:nvPr/>
        </p:nvSpPr>
        <p:spPr>
          <a:xfrm rot="10800000" flipV="1">
            <a:off x="10087995" y="2705915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AFD2655-A0BF-4E45-3F64-8B3F896684F3}"/>
              </a:ext>
            </a:extLst>
          </p:cNvPr>
          <p:cNvSpPr/>
          <p:nvPr userDrawn="1"/>
        </p:nvSpPr>
        <p:spPr>
          <a:xfrm rot="10800000" flipV="1">
            <a:off x="5622458" y="2435451"/>
            <a:ext cx="111706" cy="111706"/>
          </a:xfrm>
          <a:custGeom>
            <a:avLst/>
            <a:gdLst>
              <a:gd name="connsiteX0" fmla="*/ 103598 w 103598"/>
              <a:gd name="connsiteY0" fmla="*/ 51799 h 103598"/>
              <a:gd name="connsiteX1" fmla="*/ 51799 w 103598"/>
              <a:gd name="connsiteY1" fmla="*/ 103598 h 103598"/>
              <a:gd name="connsiteX2" fmla="*/ 0 w 103598"/>
              <a:gd name="connsiteY2" fmla="*/ 51799 h 103598"/>
              <a:gd name="connsiteX3" fmla="*/ 51799 w 103598"/>
              <a:gd name="connsiteY3" fmla="*/ 0 h 103598"/>
              <a:gd name="connsiteX4" fmla="*/ 103598 w 103598"/>
              <a:gd name="connsiteY4" fmla="*/ 51799 h 10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598" h="103598">
                <a:moveTo>
                  <a:pt x="103598" y="51799"/>
                </a:moveTo>
                <a:cubicBezTo>
                  <a:pt x="103598" y="80367"/>
                  <a:pt x="80367" y="103598"/>
                  <a:pt x="51799" y="103598"/>
                </a:cubicBezTo>
                <a:cubicBezTo>
                  <a:pt x="23231" y="103598"/>
                  <a:pt x="0" y="80367"/>
                  <a:pt x="0" y="51799"/>
                </a:cubicBezTo>
                <a:cubicBezTo>
                  <a:pt x="0" y="23231"/>
                  <a:pt x="23231" y="0"/>
                  <a:pt x="51799" y="0"/>
                </a:cubicBezTo>
                <a:cubicBezTo>
                  <a:pt x="80367" y="0"/>
                  <a:pt x="103598" y="23231"/>
                  <a:pt x="103598" y="5179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  <a:alpha val="62000"/>
            </a:schemeClr>
          </a:solidFill>
          <a:ln w="313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8" name="Text Placeholder 33">
            <a:extLst>
              <a:ext uri="{FF2B5EF4-FFF2-40B4-BE49-F238E27FC236}">
                <a16:creationId xmlns:a16="http://schemas.microsoft.com/office/drawing/2014/main" id="{0710F6B4-2E29-700F-5CC3-A0948732F7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77693" y="1719010"/>
            <a:ext cx="1379243" cy="1161770"/>
          </a:xfrm>
          <a:prstGeom prst="flowChartPreparation">
            <a:avLst/>
          </a:prstGeom>
          <a:solidFill>
            <a:schemeClr val="accent3"/>
          </a:solidFill>
          <a:ln w="254000"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9" name="Text Placeholder 34">
            <a:extLst>
              <a:ext uri="{FF2B5EF4-FFF2-40B4-BE49-F238E27FC236}">
                <a16:creationId xmlns:a16="http://schemas.microsoft.com/office/drawing/2014/main" id="{B3E82127-C5FC-5328-B0F4-AE553BA90B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270" y="2493681"/>
            <a:ext cx="1379243" cy="1161770"/>
          </a:xfrm>
          <a:prstGeom prst="flowChartPreparation">
            <a:avLst/>
          </a:prstGeom>
          <a:solidFill>
            <a:schemeClr val="accent4"/>
          </a:solidFill>
          <a:ln w="254000"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2E2DC8C3-3F3B-B76B-3A07-F4771A517F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94581" y="3254579"/>
            <a:ext cx="1379243" cy="1161770"/>
          </a:xfrm>
          <a:prstGeom prst="flowChartPreparation">
            <a:avLst/>
          </a:prstGeom>
          <a:solidFill>
            <a:schemeClr val="accent5"/>
          </a:solidFill>
          <a:ln w="254000"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949B3587-DE45-35C5-54EB-38E340BD10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7969" y="4036870"/>
            <a:ext cx="1379243" cy="1161770"/>
          </a:xfrm>
          <a:prstGeom prst="flowChartPreparation">
            <a:avLst/>
          </a:prstGeom>
          <a:solidFill>
            <a:schemeClr val="accent6"/>
          </a:solidFill>
          <a:ln w="254000"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E70D17B4-17ED-9234-C0D4-B2DC30B14E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4764" y="2465385"/>
            <a:ext cx="1379243" cy="1161770"/>
          </a:xfrm>
          <a:prstGeom prst="flowChartPreparation">
            <a:avLst/>
          </a:prstGeom>
          <a:solidFill>
            <a:schemeClr val="accent2"/>
          </a:solidFill>
          <a:ln w="2540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3" name="Rectangle 5">
            <a:extLst>
              <a:ext uri="{FF2B5EF4-FFF2-40B4-BE49-F238E27FC236}">
                <a16:creationId xmlns:a16="http://schemas.microsoft.com/office/drawing/2014/main" id="{43F8D224-DAA7-D238-ECB5-46CE1513E5D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54" name="Foliennummernplatzhalter 3">
            <a:extLst>
              <a:ext uri="{FF2B5EF4-FFF2-40B4-BE49-F238E27FC236}">
                <a16:creationId xmlns:a16="http://schemas.microsoft.com/office/drawing/2014/main" id="{028098F2-DB98-8703-D065-88D4A0FC28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280919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Infographic style (no lines ar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07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C2C8E55E-B647-6390-1F08-23A789B44B99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561328" y="2329154"/>
            <a:ext cx="4978402" cy="2997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6F9C2F7-23C6-7BBF-E3D7-393FF8F3BB6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561328" y="1982503"/>
            <a:ext cx="4978402" cy="246221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EC2C3-A751-10C0-230A-D02E2F919E4D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rgbClr val="FCFCFD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33">
            <a:extLst>
              <a:ext uri="{FF2B5EF4-FFF2-40B4-BE49-F238E27FC236}">
                <a16:creationId xmlns:a16="http://schemas.microsoft.com/office/drawing/2014/main" id="{0710F6B4-2E29-700F-5CC3-A0948732F7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77693" y="1719010"/>
            <a:ext cx="1379243" cy="1161770"/>
          </a:xfrm>
          <a:prstGeom prst="flowChartPreparation">
            <a:avLst/>
          </a:prstGeom>
          <a:solidFill>
            <a:schemeClr val="accent3"/>
          </a:solidFill>
          <a:ln w="254000">
            <a:solidFill>
              <a:schemeClr val="accent3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9" name="Text Placeholder 34">
            <a:extLst>
              <a:ext uri="{FF2B5EF4-FFF2-40B4-BE49-F238E27FC236}">
                <a16:creationId xmlns:a16="http://schemas.microsoft.com/office/drawing/2014/main" id="{B3E82127-C5FC-5328-B0F4-AE553BA90B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2270" y="2493681"/>
            <a:ext cx="1379243" cy="1161770"/>
          </a:xfrm>
          <a:prstGeom prst="flowChartPreparation">
            <a:avLst/>
          </a:prstGeom>
          <a:solidFill>
            <a:schemeClr val="accent4"/>
          </a:solidFill>
          <a:ln w="254000">
            <a:solidFill>
              <a:schemeClr val="accent4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0" name="Text Placeholder 35">
            <a:extLst>
              <a:ext uri="{FF2B5EF4-FFF2-40B4-BE49-F238E27FC236}">
                <a16:creationId xmlns:a16="http://schemas.microsoft.com/office/drawing/2014/main" id="{2E2DC8C3-3F3B-B76B-3A07-F4771A517F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94581" y="3254579"/>
            <a:ext cx="1379243" cy="1161770"/>
          </a:xfrm>
          <a:prstGeom prst="flowChartPreparation">
            <a:avLst/>
          </a:prstGeom>
          <a:solidFill>
            <a:schemeClr val="accent5"/>
          </a:solidFill>
          <a:ln w="254000">
            <a:solidFill>
              <a:schemeClr val="accent5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949B3587-DE45-35C5-54EB-38E340BD10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7969" y="4036870"/>
            <a:ext cx="1379243" cy="1161770"/>
          </a:xfrm>
          <a:prstGeom prst="flowChartPreparation">
            <a:avLst/>
          </a:prstGeom>
          <a:solidFill>
            <a:schemeClr val="accent6"/>
          </a:solidFill>
          <a:ln w="254000">
            <a:solidFill>
              <a:schemeClr val="accent6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E70D17B4-17ED-9234-C0D4-B2DC30B14E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4764" y="2465385"/>
            <a:ext cx="1379243" cy="1161770"/>
          </a:xfrm>
          <a:prstGeom prst="flowChartPreparation">
            <a:avLst/>
          </a:prstGeom>
          <a:solidFill>
            <a:schemeClr val="accent2"/>
          </a:solidFill>
          <a:ln w="2540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3" name="Rectangle 5">
            <a:extLst>
              <a:ext uri="{FF2B5EF4-FFF2-40B4-BE49-F238E27FC236}">
                <a16:creationId xmlns:a16="http://schemas.microsoft.com/office/drawing/2014/main" id="{43F8D224-DAA7-D238-ECB5-46CE1513E5D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54" name="Foliennummernplatzhalter 3">
            <a:extLst>
              <a:ext uri="{FF2B5EF4-FFF2-40B4-BE49-F238E27FC236}">
                <a16:creationId xmlns:a16="http://schemas.microsoft.com/office/drawing/2014/main" id="{028098F2-DB98-8703-D065-88D4A0FC28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044247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1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E786845-1067-C938-B671-187C2AA40AB1}"/>
              </a:ext>
            </a:extLst>
          </p:cNvPr>
          <p:cNvCxnSpPr/>
          <p:nvPr userDrawn="1"/>
        </p:nvCxnSpPr>
        <p:spPr>
          <a:xfrm>
            <a:off x="0" y="3633068"/>
            <a:ext cx="12180888" cy="0"/>
          </a:xfrm>
          <a:prstGeom prst="line">
            <a:avLst/>
          </a:prstGeom>
          <a:ln w="177800">
            <a:gradFill>
              <a:gsLst>
                <a:gs pos="7743">
                  <a:srgbClr val="EBEBEB"/>
                </a:gs>
                <a:gs pos="0">
                  <a:schemeClr val="bg1"/>
                </a:gs>
                <a:gs pos="89000">
                  <a:schemeClr val="accent6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D8FDC81-110F-0ADE-0740-B07FABEB4A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4298" y="1157043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b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7945B7-124A-9AD9-C138-1C96A3879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03798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51E5B5E-6FF8-C876-04F2-34A567860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53298" y="1157043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b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CC08023-BB59-B99A-0257-B64BAB1E4B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02800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0427C72-5527-C30F-9FB7-61E731484BD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4798" y="4390458"/>
            <a:ext cx="2184402" cy="1763596"/>
          </a:xfrm>
          <a:prstGeom prst="rect">
            <a:avLst/>
          </a:prstGeom>
          <a:noFill/>
        </p:spPr>
        <p:txBody>
          <a:bodyPr wrap="square" lIns="108000" tIns="108000" rIns="108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0" cap="none" baseline="0">
                <a:solidFill>
                  <a:schemeClr val="tx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FBED1DB-4876-F350-2482-02EB955FE201}"/>
              </a:ext>
            </a:extLst>
          </p:cNvPr>
          <p:cNvSpPr/>
          <p:nvPr userDrawn="1"/>
        </p:nvSpPr>
        <p:spPr>
          <a:xfrm>
            <a:off x="887283" y="3107232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D96FB5E-5532-728C-96BD-33970FF97D34}"/>
              </a:ext>
            </a:extLst>
          </p:cNvPr>
          <p:cNvSpPr/>
          <p:nvPr userDrawn="1"/>
        </p:nvSpPr>
        <p:spPr>
          <a:xfrm>
            <a:off x="3236783" y="3108123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B7154EE-4BDF-4B4B-7067-83290D817A6C}"/>
              </a:ext>
            </a:extLst>
          </p:cNvPr>
          <p:cNvSpPr/>
          <p:nvPr userDrawn="1"/>
        </p:nvSpPr>
        <p:spPr>
          <a:xfrm>
            <a:off x="5605456" y="3107232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C62F83F-D8EE-5437-B6C9-DECD3CD08C35}"/>
              </a:ext>
            </a:extLst>
          </p:cNvPr>
          <p:cNvSpPr/>
          <p:nvPr userDrawn="1"/>
        </p:nvSpPr>
        <p:spPr>
          <a:xfrm>
            <a:off x="7935783" y="3126407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9B16025-0E24-50FE-3DEA-0DAE7758FD45}"/>
              </a:ext>
            </a:extLst>
          </p:cNvPr>
          <p:cNvSpPr/>
          <p:nvPr userDrawn="1"/>
        </p:nvSpPr>
        <p:spPr>
          <a:xfrm>
            <a:off x="10282236" y="3116757"/>
            <a:ext cx="1041654" cy="1041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EDCED410-22B4-73D2-9B79-FD4A16AD2C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 rot="6141228">
            <a:off x="3217610" y="3088057"/>
            <a:ext cx="1080000" cy="1080000"/>
          </a:xfrm>
          <a:prstGeom prst="arc">
            <a:avLst>
              <a:gd name="adj1" fmla="val 2773640"/>
              <a:gd name="adj2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BB8BB45-79A3-BA6C-0EEC-1450DB98CB3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 rot="19193948">
            <a:off x="5567110" y="3088057"/>
            <a:ext cx="1080000" cy="1080000"/>
          </a:xfrm>
          <a:prstGeom prst="arc">
            <a:avLst>
              <a:gd name="adj1" fmla="val 9154416"/>
              <a:gd name="adj2" fmla="val 6576737"/>
            </a:avLst>
          </a:prstGeom>
          <a:solidFill>
            <a:schemeClr val="bg1"/>
          </a:solidFill>
          <a:ln w="3175">
            <a:solidFill>
              <a:schemeClr val="accent4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D21B224-ABED-A83F-DFFB-C65E5D6499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16610" y="3088057"/>
            <a:ext cx="1080000" cy="1080000"/>
          </a:xfrm>
          <a:prstGeom prst="arc">
            <a:avLst>
              <a:gd name="adj1" fmla="val 3653648"/>
              <a:gd name="adj2" fmla="val 1409728"/>
            </a:avLst>
          </a:prstGeom>
          <a:solidFill>
            <a:schemeClr val="bg1"/>
          </a:solidFill>
          <a:ln w="3175">
            <a:solidFill>
              <a:schemeClr val="accent5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75478422-C412-B756-EEC7-D1C8800BE83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266110" y="3088057"/>
            <a:ext cx="1080000" cy="1080000"/>
          </a:xfrm>
          <a:prstGeom prst="arc">
            <a:avLst>
              <a:gd name="adj1" fmla="val 19435279"/>
              <a:gd name="adj2" fmla="val 17811453"/>
            </a:avLst>
          </a:prstGeom>
          <a:solidFill>
            <a:schemeClr val="bg1"/>
          </a:solidFill>
          <a:ln w="3175">
            <a:solidFill>
              <a:schemeClr val="accent6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1C276974-E6B5-9E99-63B0-0BB551748D2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8110" y="3088057"/>
            <a:ext cx="1080000" cy="1080000"/>
          </a:xfrm>
          <a:prstGeom prst="arc">
            <a:avLst>
              <a:gd name="adj1" fmla="val 16200000"/>
              <a:gd name="adj2" fmla="val 12799477"/>
            </a:avLst>
          </a:prstGeom>
          <a:solidFill>
            <a:schemeClr val="bg1"/>
          </a:solidFill>
          <a:ln w="3175">
            <a:solidFill>
              <a:schemeClr val="accent2"/>
            </a:solidFill>
            <a:headEnd type="oval" w="lg" len="lg"/>
            <a:tailEnd type="oval" w="lg" len="lg"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 cap="none" baseline="0">
                <a:noFill/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28275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Infographic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1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7271659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7271659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C052123-61A9-A38D-8028-CB449D75B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8053" y="3077902"/>
            <a:ext cx="3209498" cy="169253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86A5CFA1-6B6D-0706-40C7-656CBC67C2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9990" y="2257425"/>
            <a:ext cx="3209498" cy="615553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FB1E058-BE55-0E9E-3F2B-05B3508D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5" t="15260" r="16178" b="14327"/>
          <a:stretch/>
        </p:blipFill>
        <p:spPr>
          <a:xfrm>
            <a:off x="4415971" y="1005839"/>
            <a:ext cx="2794001" cy="5166361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4E25861-CA24-B414-F77D-F3804EA5E0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66785" y="2257425"/>
            <a:ext cx="2300287" cy="2513012"/>
          </a:xfrm>
          <a:prstGeom prst="roundRect">
            <a:avLst>
              <a:gd name="adj" fmla="val 22599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9D06EA2B-1296-2908-15DA-D271868797B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576457" y="1800322"/>
            <a:ext cx="986972" cy="914206"/>
          </a:xfrm>
          <a:prstGeom prst="round2DiagRect">
            <a:avLst>
              <a:gd name="adj1" fmla="val 26669"/>
              <a:gd name="adj2" fmla="val 0"/>
            </a:avLst>
          </a:prstGeom>
          <a:solidFill>
            <a:schemeClr val="accent3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004705F2-788D-7CF5-E82F-87573ACC25C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 flipH="1">
            <a:off x="7576457" y="3124395"/>
            <a:ext cx="986972" cy="914206"/>
          </a:xfrm>
          <a:prstGeom prst="round2DiagRect">
            <a:avLst>
              <a:gd name="adj1" fmla="val 30829"/>
              <a:gd name="adj2" fmla="val 0"/>
            </a:avLst>
          </a:prstGeom>
          <a:solidFill>
            <a:schemeClr val="accent5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1CB91E0-53D1-C909-8052-B120F75ED0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576457" y="4448468"/>
            <a:ext cx="986972" cy="914206"/>
          </a:xfrm>
          <a:prstGeom prst="round2DiagRect">
            <a:avLst>
              <a:gd name="adj1" fmla="val 30006"/>
              <a:gd name="adj2" fmla="val 0"/>
            </a:avLst>
          </a:prstGeom>
          <a:solidFill>
            <a:schemeClr val="accent4"/>
          </a:solidFill>
        </p:spPr>
        <p:txBody>
          <a:bodyPr wrap="square" lIns="72000" tIns="1332000" rIns="72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F494B66E-2B55-EB75-B647-D1D0B3B783B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735453" y="1800322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DEA45EB-D7A4-166F-7099-C1361072F7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 flipH="1">
            <a:off x="8735452" y="3124395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8F74D723-562B-D674-8AD4-142234B794F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35453" y="4448468"/>
            <a:ext cx="3162860" cy="914206"/>
          </a:xfrm>
          <a:prstGeom prst="rect">
            <a:avLst/>
          </a:prstGeom>
          <a:noFill/>
        </p:spPr>
        <p:txBody>
          <a:bodyPr wrap="square" lIns="0" tIns="0" r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cap="none" baseline="0">
                <a:solidFill>
                  <a:schemeClr val="accent6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80A818-5DB5-2088-8B83-527F9FDEDD82}"/>
              </a:ext>
            </a:extLst>
          </p:cNvPr>
          <p:cNvSpPr/>
          <p:nvPr userDrawn="1"/>
        </p:nvSpPr>
        <p:spPr>
          <a:xfrm>
            <a:off x="568054" y="2963461"/>
            <a:ext cx="3209498" cy="18000"/>
          </a:xfrm>
          <a:prstGeom prst="rect">
            <a:avLst/>
          </a:prstGeom>
          <a:gradFill>
            <a:gsLst>
              <a:gs pos="0">
                <a:schemeClr val="accent2"/>
              </a:gs>
              <a:gs pos="56348">
                <a:schemeClr val="accent2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551765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A9E8260-0153-2B3D-0431-0C2D357299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92100" y="1130300"/>
            <a:ext cx="115884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653054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 and conten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5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F0EA0E1-07CB-5F18-99C3-DFA99142F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8B44DE31-E3AE-7499-BA29-4A20050CA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8A9E8260-0153-2B3D-0431-0C2D3572996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92100" y="1130300"/>
            <a:ext cx="115884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457993-6426-D0A0-85B3-E23D2652CE31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DF76DCC-CE96-EAA0-06DB-2596CDF7B63F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FBF7D24-077D-879D-A54F-7B36A768BACA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E04C117-2ED8-B601-EEC6-BB9B5AE2C09C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C89A5CE-0277-E73D-A331-66C5F93EF9B9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7BAB662-F85A-AAA4-3438-86FF5BCE7A29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466C712-F63E-8F27-9AC6-0EAF01000F71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F258FBD-4EB5-C783-C995-D222829416D6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EEB0CD0-1147-2537-AE00-C49F074B289A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8BF82E-CB8D-34B4-142F-5237661C7E34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B8D142B-F139-7DCA-BDDF-B8DC868CD6D3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6A77D83-8377-B675-D553-56835D5535D7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599B6F-8628-A375-F814-4C26D923D1A0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4907C2D-133D-4AF3-CC2D-67FF7B81F9B7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A372241-9E15-4ECB-FCC2-DDB78B7A2A23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0C37402-AF01-DE4D-4EA7-CEA0F7D7B79C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CA383D7-0F8A-06A2-05EC-8193046B9821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D66C921-5CBD-68EC-0930-E20350273629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796A810-2EB5-EC07-702B-951253DC4759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52CB08-B62C-4E76-3C0D-AE91AE6C7EED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D8310D7-E80C-9D25-8B0A-AD76A74251C1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4239F9B-ED96-88A0-8374-C4554D3A1991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B65D328-D9FF-05D8-B5D6-F2B2F7987044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71482EC-3F87-95E5-D2A3-0EF00036249B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C3FF493-EBC4-76D8-7DAF-CCB79E523903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B7F16A1-769C-EBD6-AD18-9A8AF113915D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1749317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98268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399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215444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75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75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75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5B3CBD-7045-D0A7-D3E5-B86BD147A180}"/>
              </a:ext>
            </a:extLst>
          </p:cNvPr>
          <p:cNvGrpSpPr/>
          <p:nvPr userDrawn="1"/>
        </p:nvGrpSpPr>
        <p:grpSpPr>
          <a:xfrm rot="10800000">
            <a:off x="4450426" y="-11928"/>
            <a:ext cx="7741574" cy="6869928"/>
            <a:chOff x="-11929" y="-11928"/>
            <a:chExt cx="7179661" cy="637128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345DEBA-6810-F272-C7AF-C350025F5FEE}"/>
                </a:ext>
              </a:extLst>
            </p:cNvPr>
            <p:cNvSpPr/>
            <p:nvPr/>
          </p:nvSpPr>
          <p:spPr>
            <a:xfrm>
              <a:off x="-11929" y="3249527"/>
              <a:ext cx="6538609" cy="2190000"/>
            </a:xfrm>
            <a:custGeom>
              <a:avLst/>
              <a:gdLst>
                <a:gd name="connsiteX0" fmla="*/ 6538610 w 6538609"/>
                <a:gd name="connsiteY0" fmla="*/ 2190001 h 2190000"/>
                <a:gd name="connsiteX1" fmla="*/ 4287706 w 6538609"/>
                <a:gd name="connsiteY1" fmla="*/ 2190001 h 2190000"/>
                <a:gd name="connsiteX2" fmla="*/ 4002340 w 6538609"/>
                <a:gd name="connsiteY2" fmla="*/ 2071334 h 2190000"/>
                <a:gd name="connsiteX3" fmla="*/ 3885557 w 6538609"/>
                <a:gd name="connsiteY3" fmla="*/ 1785027 h 2190000"/>
                <a:gd name="connsiteX4" fmla="*/ 3895603 w 6538609"/>
                <a:gd name="connsiteY4" fmla="*/ 404974 h 2190000"/>
                <a:gd name="connsiteX5" fmla="*/ 3781017 w 6538609"/>
                <a:gd name="connsiteY5" fmla="*/ 124318 h 2190000"/>
                <a:gd name="connsiteX6" fmla="*/ 3501302 w 6538609"/>
                <a:gd name="connsiteY6" fmla="*/ 7848 h 2190000"/>
                <a:gd name="connsiteX7" fmla="*/ 1303139 w 6538609"/>
                <a:gd name="connsiteY7" fmla="*/ 7848 h 2190000"/>
                <a:gd name="connsiteX8" fmla="*/ 909152 w 6538609"/>
                <a:gd name="connsiteY8" fmla="*/ 399324 h 2190000"/>
                <a:gd name="connsiteX9" fmla="*/ 906640 w 6538609"/>
                <a:gd name="connsiteY9" fmla="*/ 708548 h 2190000"/>
                <a:gd name="connsiteX10" fmla="*/ 1815792 w 6538609"/>
                <a:gd name="connsiteY10" fmla="*/ 708548 h 2190000"/>
                <a:gd name="connsiteX11" fmla="*/ 2217941 w 6538609"/>
                <a:gd name="connsiteY11" fmla="*/ 1111011 h 2190000"/>
                <a:gd name="connsiteX12" fmla="*/ 2217941 w 6538609"/>
                <a:gd name="connsiteY12" fmla="*/ 1787852 h 2190000"/>
                <a:gd name="connsiteX13" fmla="*/ 1815792 w 6538609"/>
                <a:gd name="connsiteY13" fmla="*/ 2190001 h 2190000"/>
                <a:gd name="connsiteX14" fmla="*/ 1293093 w 6538609"/>
                <a:gd name="connsiteY14" fmla="*/ 2190001 h 2190000"/>
                <a:gd name="connsiteX15" fmla="*/ 1007727 w 6538609"/>
                <a:gd name="connsiteY15" fmla="*/ 2071334 h 2190000"/>
                <a:gd name="connsiteX16" fmla="*/ 890944 w 6538609"/>
                <a:gd name="connsiteY16" fmla="*/ 1785027 h 2190000"/>
                <a:gd name="connsiteX17" fmla="*/ 898792 w 6538609"/>
                <a:gd name="connsiteY17" fmla="*/ 716711 h 2190000"/>
                <a:gd name="connsiteX18" fmla="*/ 0 w 6538609"/>
                <a:gd name="connsiteY18" fmla="*/ 716711 h 2190000"/>
                <a:gd name="connsiteX19" fmla="*/ 0 w 6538609"/>
                <a:gd name="connsiteY19" fmla="*/ 708548 h 2190000"/>
                <a:gd name="connsiteX20" fmla="*/ 898792 w 6538609"/>
                <a:gd name="connsiteY20" fmla="*/ 708548 h 2190000"/>
                <a:gd name="connsiteX21" fmla="*/ 900990 w 6538609"/>
                <a:gd name="connsiteY21" fmla="*/ 399010 h 2190000"/>
                <a:gd name="connsiteX22" fmla="*/ 1303139 w 6538609"/>
                <a:gd name="connsiteY22" fmla="*/ 0 h 2190000"/>
                <a:gd name="connsiteX23" fmla="*/ 3501302 w 6538609"/>
                <a:gd name="connsiteY23" fmla="*/ 0 h 2190000"/>
                <a:gd name="connsiteX24" fmla="*/ 3786668 w 6538609"/>
                <a:gd name="connsiteY24" fmla="*/ 118667 h 2190000"/>
                <a:gd name="connsiteX25" fmla="*/ 3903451 w 6538609"/>
                <a:gd name="connsiteY25" fmla="*/ 404974 h 2190000"/>
                <a:gd name="connsiteX26" fmla="*/ 3893405 w 6538609"/>
                <a:gd name="connsiteY26" fmla="*/ 1785027 h 2190000"/>
                <a:gd name="connsiteX27" fmla="*/ 4007991 w 6538609"/>
                <a:gd name="connsiteY27" fmla="*/ 2065683 h 2190000"/>
                <a:gd name="connsiteX28" fmla="*/ 4287706 w 6538609"/>
                <a:gd name="connsiteY28" fmla="*/ 2182153 h 2190000"/>
                <a:gd name="connsiteX29" fmla="*/ 6538610 w 6538609"/>
                <a:gd name="connsiteY29" fmla="*/ 2182153 h 2190000"/>
                <a:gd name="connsiteX30" fmla="*/ 906640 w 6538609"/>
                <a:gd name="connsiteY30" fmla="*/ 716397 h 2190000"/>
                <a:gd name="connsiteX31" fmla="*/ 898792 w 6538609"/>
                <a:gd name="connsiteY31" fmla="*/ 1784713 h 2190000"/>
                <a:gd name="connsiteX32" fmla="*/ 1013378 w 6538609"/>
                <a:gd name="connsiteY32" fmla="*/ 2065369 h 2190000"/>
                <a:gd name="connsiteX33" fmla="*/ 1293093 w 6538609"/>
                <a:gd name="connsiteY33" fmla="*/ 2181839 h 2190000"/>
                <a:gd name="connsiteX34" fmla="*/ 1815792 w 6538609"/>
                <a:gd name="connsiteY34" fmla="*/ 2181839 h 2190000"/>
                <a:gd name="connsiteX35" fmla="*/ 2210093 w 6538609"/>
                <a:gd name="connsiteY35" fmla="*/ 1787852 h 2190000"/>
                <a:gd name="connsiteX36" fmla="*/ 2210093 w 6538609"/>
                <a:gd name="connsiteY36" fmla="*/ 1110697 h 2190000"/>
                <a:gd name="connsiteX37" fmla="*/ 1815792 w 6538609"/>
                <a:gd name="connsiteY37" fmla="*/ 716397 h 21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538609" h="2190000">
                  <a:moveTo>
                    <a:pt x="6538610" y="2190001"/>
                  </a:moveTo>
                  <a:lnTo>
                    <a:pt x="4287706" y="2190001"/>
                  </a:lnTo>
                  <a:cubicBezTo>
                    <a:pt x="4179713" y="2190001"/>
                    <a:pt x="4078312" y="2147934"/>
                    <a:pt x="4002340" y="2071334"/>
                  </a:cubicBezTo>
                  <a:cubicBezTo>
                    <a:pt x="3926054" y="1994734"/>
                    <a:pt x="3884615" y="1893020"/>
                    <a:pt x="3885557" y="1785027"/>
                  </a:cubicBezTo>
                  <a:lnTo>
                    <a:pt x="3895603" y="404974"/>
                  </a:lnTo>
                  <a:cubicBezTo>
                    <a:pt x="3896231" y="299179"/>
                    <a:pt x="3855733" y="199348"/>
                    <a:pt x="3781017" y="124318"/>
                  </a:cubicBezTo>
                  <a:cubicBezTo>
                    <a:pt x="3706615" y="49288"/>
                    <a:pt x="3607098" y="7848"/>
                    <a:pt x="3501302" y="7848"/>
                  </a:cubicBezTo>
                  <a:lnTo>
                    <a:pt x="1303139" y="7848"/>
                  </a:lnTo>
                  <a:cubicBezTo>
                    <a:pt x="1087466" y="7848"/>
                    <a:pt x="910721" y="183337"/>
                    <a:pt x="909152" y="399324"/>
                  </a:cubicBezTo>
                  <a:lnTo>
                    <a:pt x="906640" y="708548"/>
                  </a:lnTo>
                  <a:lnTo>
                    <a:pt x="1815792" y="708548"/>
                  </a:lnTo>
                  <a:cubicBezTo>
                    <a:pt x="2037743" y="708548"/>
                    <a:pt x="2217941" y="889060"/>
                    <a:pt x="2217941" y="1111011"/>
                  </a:cubicBezTo>
                  <a:lnTo>
                    <a:pt x="2217941" y="1787852"/>
                  </a:lnTo>
                  <a:cubicBezTo>
                    <a:pt x="2217941" y="2009489"/>
                    <a:pt x="2037743" y="2190001"/>
                    <a:pt x="1815792" y="2190001"/>
                  </a:cubicBezTo>
                  <a:lnTo>
                    <a:pt x="1293093" y="2190001"/>
                  </a:lnTo>
                  <a:cubicBezTo>
                    <a:pt x="1185100" y="2190001"/>
                    <a:pt x="1083699" y="2147934"/>
                    <a:pt x="1007727" y="2071334"/>
                  </a:cubicBezTo>
                  <a:cubicBezTo>
                    <a:pt x="931755" y="1994734"/>
                    <a:pt x="890002" y="1893020"/>
                    <a:pt x="890944" y="1785027"/>
                  </a:cubicBezTo>
                  <a:lnTo>
                    <a:pt x="898792" y="716711"/>
                  </a:lnTo>
                  <a:lnTo>
                    <a:pt x="0" y="716711"/>
                  </a:lnTo>
                  <a:lnTo>
                    <a:pt x="0" y="708548"/>
                  </a:lnTo>
                  <a:lnTo>
                    <a:pt x="898792" y="708548"/>
                  </a:lnTo>
                  <a:lnTo>
                    <a:pt x="900990" y="399010"/>
                  </a:lnTo>
                  <a:cubicBezTo>
                    <a:pt x="902559" y="178942"/>
                    <a:pt x="1083071" y="0"/>
                    <a:pt x="1303139" y="0"/>
                  </a:cubicBezTo>
                  <a:lnTo>
                    <a:pt x="3501302" y="0"/>
                  </a:lnTo>
                  <a:cubicBezTo>
                    <a:pt x="3609295" y="0"/>
                    <a:pt x="3710696" y="42067"/>
                    <a:pt x="3786668" y="118667"/>
                  </a:cubicBezTo>
                  <a:cubicBezTo>
                    <a:pt x="3862953" y="195267"/>
                    <a:pt x="3904393" y="296981"/>
                    <a:pt x="3903451" y="404974"/>
                  </a:cubicBezTo>
                  <a:lnTo>
                    <a:pt x="3893405" y="1785027"/>
                  </a:lnTo>
                  <a:cubicBezTo>
                    <a:pt x="3892777" y="1890822"/>
                    <a:pt x="3933275" y="1990339"/>
                    <a:pt x="4007991" y="2065683"/>
                  </a:cubicBezTo>
                  <a:cubicBezTo>
                    <a:pt x="4082393" y="2140714"/>
                    <a:pt x="4181910" y="2182153"/>
                    <a:pt x="4287706" y="2182153"/>
                  </a:cubicBezTo>
                  <a:lnTo>
                    <a:pt x="6538610" y="2182153"/>
                  </a:lnTo>
                  <a:close/>
                  <a:moveTo>
                    <a:pt x="906640" y="716397"/>
                  </a:moveTo>
                  <a:lnTo>
                    <a:pt x="898792" y="1784713"/>
                  </a:lnTo>
                  <a:cubicBezTo>
                    <a:pt x="898164" y="1890822"/>
                    <a:pt x="938662" y="1990339"/>
                    <a:pt x="1013378" y="2065369"/>
                  </a:cubicBezTo>
                  <a:cubicBezTo>
                    <a:pt x="1087780" y="2140714"/>
                    <a:pt x="1187297" y="2181839"/>
                    <a:pt x="1293093" y="2181839"/>
                  </a:cubicBezTo>
                  <a:lnTo>
                    <a:pt x="1815792" y="2181839"/>
                  </a:lnTo>
                  <a:cubicBezTo>
                    <a:pt x="2033348" y="2181839"/>
                    <a:pt x="2210093" y="2005094"/>
                    <a:pt x="2210093" y="1787852"/>
                  </a:cubicBezTo>
                  <a:lnTo>
                    <a:pt x="2210093" y="1110697"/>
                  </a:lnTo>
                  <a:cubicBezTo>
                    <a:pt x="2210093" y="893455"/>
                    <a:pt x="2033348" y="716397"/>
                    <a:pt x="1815792" y="71639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4850ABC-791F-14D9-43FA-5FBA2FB454C9}"/>
                </a:ext>
              </a:extLst>
            </p:cNvPr>
            <p:cNvSpPr/>
            <p:nvPr/>
          </p:nvSpPr>
          <p:spPr>
            <a:xfrm>
              <a:off x="-11929" y="605265"/>
              <a:ext cx="3006542" cy="5754089"/>
            </a:xfrm>
            <a:custGeom>
              <a:avLst/>
              <a:gdLst>
                <a:gd name="connsiteX0" fmla="*/ 3006543 w 3006542"/>
                <a:gd name="connsiteY0" fmla="*/ 5754090 h 5754089"/>
                <a:gd name="connsiteX1" fmla="*/ 2998380 w 3006542"/>
                <a:gd name="connsiteY1" fmla="*/ 5754090 h 5754089"/>
                <a:gd name="connsiteX2" fmla="*/ 2998380 w 3006542"/>
                <a:gd name="connsiteY2" fmla="*/ 1652547 h 5754089"/>
                <a:gd name="connsiteX3" fmla="*/ 2604394 w 3006542"/>
                <a:gd name="connsiteY3" fmla="*/ 1258246 h 5754089"/>
                <a:gd name="connsiteX4" fmla="*/ 1481453 w 3006542"/>
                <a:gd name="connsiteY4" fmla="*/ 1258246 h 5754089"/>
                <a:gd name="connsiteX5" fmla="*/ 1078990 w 3006542"/>
                <a:gd name="connsiteY5" fmla="*/ 856097 h 5754089"/>
                <a:gd name="connsiteX6" fmla="*/ 1078990 w 3006542"/>
                <a:gd name="connsiteY6" fmla="*/ 402149 h 5754089"/>
                <a:gd name="connsiteX7" fmla="*/ 685003 w 3006542"/>
                <a:gd name="connsiteY7" fmla="*/ 7848 h 5754089"/>
                <a:gd name="connsiteX8" fmla="*/ 0 w 3006542"/>
                <a:gd name="connsiteY8" fmla="*/ 7848 h 5754089"/>
                <a:gd name="connsiteX9" fmla="*/ 0 w 3006542"/>
                <a:gd name="connsiteY9" fmla="*/ 0 h 5754089"/>
                <a:gd name="connsiteX10" fmla="*/ 685003 w 3006542"/>
                <a:gd name="connsiteY10" fmla="*/ 0 h 5754089"/>
                <a:gd name="connsiteX11" fmla="*/ 1087152 w 3006542"/>
                <a:gd name="connsiteY11" fmla="*/ 402149 h 5754089"/>
                <a:gd name="connsiteX12" fmla="*/ 1087152 w 3006542"/>
                <a:gd name="connsiteY12" fmla="*/ 856097 h 5754089"/>
                <a:gd name="connsiteX13" fmla="*/ 1481453 w 3006542"/>
                <a:gd name="connsiteY13" fmla="*/ 1250398 h 5754089"/>
                <a:gd name="connsiteX14" fmla="*/ 2604394 w 3006542"/>
                <a:gd name="connsiteY14" fmla="*/ 1250398 h 5754089"/>
                <a:gd name="connsiteX15" fmla="*/ 3006543 w 3006542"/>
                <a:gd name="connsiteY15" fmla="*/ 1652547 h 575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6542" h="5754089">
                  <a:moveTo>
                    <a:pt x="3006543" y="5754090"/>
                  </a:moveTo>
                  <a:lnTo>
                    <a:pt x="2998380" y="5754090"/>
                  </a:lnTo>
                  <a:lnTo>
                    <a:pt x="2998380" y="1652547"/>
                  </a:lnTo>
                  <a:cubicBezTo>
                    <a:pt x="2998380" y="1435305"/>
                    <a:pt x="2821636" y="1258246"/>
                    <a:pt x="2604394" y="1258246"/>
                  </a:cubicBezTo>
                  <a:lnTo>
                    <a:pt x="1481453" y="1258246"/>
                  </a:lnTo>
                  <a:cubicBezTo>
                    <a:pt x="1259502" y="1258246"/>
                    <a:pt x="1078990" y="1078048"/>
                    <a:pt x="1078990" y="856097"/>
                  </a:cubicBezTo>
                  <a:lnTo>
                    <a:pt x="1078990" y="402149"/>
                  </a:lnTo>
                  <a:cubicBezTo>
                    <a:pt x="1078990" y="184907"/>
                    <a:pt x="902245" y="7848"/>
                    <a:pt x="685003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685003" y="0"/>
                  </a:lnTo>
                  <a:cubicBezTo>
                    <a:pt x="906640" y="0"/>
                    <a:pt x="1087152" y="180512"/>
                    <a:pt x="1087152" y="402149"/>
                  </a:cubicBezTo>
                  <a:lnTo>
                    <a:pt x="1087152" y="856097"/>
                  </a:lnTo>
                  <a:cubicBezTo>
                    <a:pt x="1087152" y="1073653"/>
                    <a:pt x="1263897" y="1250398"/>
                    <a:pt x="1481453" y="1250398"/>
                  </a:cubicBezTo>
                  <a:lnTo>
                    <a:pt x="2604394" y="1250398"/>
                  </a:lnTo>
                  <a:cubicBezTo>
                    <a:pt x="2826031" y="1250398"/>
                    <a:pt x="3006543" y="1430909"/>
                    <a:pt x="3006543" y="165254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D0B815-BE76-2924-9865-0BCDEB19BFA6}"/>
                </a:ext>
              </a:extLst>
            </p:cNvPr>
            <p:cNvSpPr/>
            <p:nvPr/>
          </p:nvSpPr>
          <p:spPr>
            <a:xfrm>
              <a:off x="-11929" y="-11928"/>
              <a:ext cx="2855226" cy="1262327"/>
            </a:xfrm>
            <a:custGeom>
              <a:avLst/>
              <a:gdLst>
                <a:gd name="connsiteX0" fmla="*/ 2453078 w 2855226"/>
                <a:gd name="connsiteY0" fmla="*/ 1262327 h 1262327"/>
                <a:gd name="connsiteX1" fmla="*/ 0 w 2855226"/>
                <a:gd name="connsiteY1" fmla="*/ 1262327 h 1262327"/>
                <a:gd name="connsiteX2" fmla="*/ 0 w 2855226"/>
                <a:gd name="connsiteY2" fmla="*/ 1254479 h 1262327"/>
                <a:gd name="connsiteX3" fmla="*/ 2453078 w 2855226"/>
                <a:gd name="connsiteY3" fmla="*/ 1254479 h 1262327"/>
                <a:gd name="connsiteX4" fmla="*/ 2847064 w 2855226"/>
                <a:gd name="connsiteY4" fmla="*/ 860178 h 1262327"/>
                <a:gd name="connsiteX5" fmla="*/ 2847064 w 2855226"/>
                <a:gd name="connsiteY5" fmla="*/ 0 h 1262327"/>
                <a:gd name="connsiteX6" fmla="*/ 2855227 w 2855226"/>
                <a:gd name="connsiteY6" fmla="*/ 0 h 1262327"/>
                <a:gd name="connsiteX7" fmla="*/ 2855227 w 2855226"/>
                <a:gd name="connsiteY7" fmla="*/ 860178 h 1262327"/>
                <a:gd name="connsiteX8" fmla="*/ 2453078 w 2855226"/>
                <a:gd name="connsiteY8" fmla="*/ 1262327 h 12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5226" h="1262327">
                  <a:moveTo>
                    <a:pt x="2453078" y="1262327"/>
                  </a:moveTo>
                  <a:lnTo>
                    <a:pt x="0" y="1262327"/>
                  </a:lnTo>
                  <a:lnTo>
                    <a:pt x="0" y="1254479"/>
                  </a:lnTo>
                  <a:lnTo>
                    <a:pt x="2453078" y="1254479"/>
                  </a:lnTo>
                  <a:cubicBezTo>
                    <a:pt x="2670320" y="1254479"/>
                    <a:pt x="2847064" y="1077420"/>
                    <a:pt x="2847064" y="860178"/>
                  </a:cubicBezTo>
                  <a:lnTo>
                    <a:pt x="2847064" y="0"/>
                  </a:lnTo>
                  <a:lnTo>
                    <a:pt x="2855227" y="0"/>
                  </a:lnTo>
                  <a:lnTo>
                    <a:pt x="2855227" y="860178"/>
                  </a:lnTo>
                  <a:cubicBezTo>
                    <a:pt x="2855227" y="1081815"/>
                    <a:pt x="2674715" y="1262327"/>
                    <a:pt x="2453078" y="126232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13783C3-B104-7FD8-1D67-97DFA3C4B019}"/>
                </a:ext>
              </a:extLst>
            </p:cNvPr>
            <p:cNvSpPr/>
            <p:nvPr/>
          </p:nvSpPr>
          <p:spPr>
            <a:xfrm>
              <a:off x="1983118" y="-11928"/>
              <a:ext cx="4049743" cy="2321539"/>
            </a:xfrm>
            <a:custGeom>
              <a:avLst/>
              <a:gdLst>
                <a:gd name="connsiteX0" fmla="*/ 4049744 w 4049743"/>
                <a:gd name="connsiteY0" fmla="*/ 2321539 h 2321539"/>
                <a:gd name="connsiteX1" fmla="*/ 2600312 w 4049743"/>
                <a:gd name="connsiteY1" fmla="*/ 2321539 h 2321539"/>
                <a:gd name="connsiteX2" fmla="*/ 2198164 w 4049743"/>
                <a:gd name="connsiteY2" fmla="*/ 1919390 h 2321539"/>
                <a:gd name="connsiteX3" fmla="*/ 2198164 w 4049743"/>
                <a:gd name="connsiteY3" fmla="*/ 1146800 h 2321539"/>
                <a:gd name="connsiteX4" fmla="*/ 1803863 w 4049743"/>
                <a:gd name="connsiteY4" fmla="*/ 752499 h 2321539"/>
                <a:gd name="connsiteX5" fmla="*/ 402149 w 4049743"/>
                <a:gd name="connsiteY5" fmla="*/ 752499 h 2321539"/>
                <a:gd name="connsiteX6" fmla="*/ 0 w 4049743"/>
                <a:gd name="connsiteY6" fmla="*/ 350350 h 2321539"/>
                <a:gd name="connsiteX7" fmla="*/ 0 w 4049743"/>
                <a:gd name="connsiteY7" fmla="*/ 0 h 2321539"/>
                <a:gd name="connsiteX8" fmla="*/ 7848 w 4049743"/>
                <a:gd name="connsiteY8" fmla="*/ 0 h 2321539"/>
                <a:gd name="connsiteX9" fmla="*/ 7848 w 4049743"/>
                <a:gd name="connsiteY9" fmla="*/ 350350 h 2321539"/>
                <a:gd name="connsiteX10" fmla="*/ 402149 w 4049743"/>
                <a:gd name="connsiteY10" fmla="*/ 744651 h 2321539"/>
                <a:gd name="connsiteX11" fmla="*/ 1803863 w 4049743"/>
                <a:gd name="connsiteY11" fmla="*/ 744651 h 2321539"/>
                <a:gd name="connsiteX12" fmla="*/ 2206012 w 4049743"/>
                <a:gd name="connsiteY12" fmla="*/ 1146800 h 2321539"/>
                <a:gd name="connsiteX13" fmla="*/ 2206012 w 4049743"/>
                <a:gd name="connsiteY13" fmla="*/ 1919390 h 2321539"/>
                <a:gd name="connsiteX14" fmla="*/ 2600312 w 4049743"/>
                <a:gd name="connsiteY14" fmla="*/ 2313691 h 2321539"/>
                <a:gd name="connsiteX15" fmla="*/ 4049744 w 4049743"/>
                <a:gd name="connsiteY15" fmla="*/ 2313691 h 232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9743" h="2321539">
                  <a:moveTo>
                    <a:pt x="4049744" y="2321539"/>
                  </a:moveTo>
                  <a:lnTo>
                    <a:pt x="2600312" y="2321539"/>
                  </a:lnTo>
                  <a:cubicBezTo>
                    <a:pt x="2378675" y="2321539"/>
                    <a:pt x="2198164" y="2141028"/>
                    <a:pt x="2198164" y="1919390"/>
                  </a:cubicBezTo>
                  <a:lnTo>
                    <a:pt x="2198164" y="1146800"/>
                  </a:lnTo>
                  <a:cubicBezTo>
                    <a:pt x="2198164" y="929557"/>
                    <a:pt x="2021105" y="752499"/>
                    <a:pt x="1803863" y="752499"/>
                  </a:cubicBezTo>
                  <a:lnTo>
                    <a:pt x="402149" y="752499"/>
                  </a:lnTo>
                  <a:cubicBezTo>
                    <a:pt x="180512" y="752499"/>
                    <a:pt x="0" y="572301"/>
                    <a:pt x="0" y="350350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50350"/>
                  </a:lnTo>
                  <a:cubicBezTo>
                    <a:pt x="7848" y="567906"/>
                    <a:pt x="184907" y="744651"/>
                    <a:pt x="402149" y="744651"/>
                  </a:cubicBezTo>
                  <a:lnTo>
                    <a:pt x="1803863" y="744651"/>
                  </a:lnTo>
                  <a:cubicBezTo>
                    <a:pt x="2025500" y="744651"/>
                    <a:pt x="2206012" y="925162"/>
                    <a:pt x="2206012" y="1146800"/>
                  </a:cubicBezTo>
                  <a:lnTo>
                    <a:pt x="2206012" y="1919390"/>
                  </a:lnTo>
                  <a:cubicBezTo>
                    <a:pt x="2206012" y="2136632"/>
                    <a:pt x="2383071" y="2313691"/>
                    <a:pt x="2600312" y="2313691"/>
                  </a:cubicBezTo>
                  <a:lnTo>
                    <a:pt x="4049744" y="23136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4444744-1D51-456D-CC54-02B22E18D49E}"/>
                </a:ext>
              </a:extLst>
            </p:cNvPr>
            <p:cNvSpPr/>
            <p:nvPr/>
          </p:nvSpPr>
          <p:spPr>
            <a:xfrm>
              <a:off x="-11929" y="4738829"/>
              <a:ext cx="1572807" cy="1620525"/>
            </a:xfrm>
            <a:custGeom>
              <a:avLst/>
              <a:gdLst>
                <a:gd name="connsiteX0" fmla="*/ 1572808 w 1572807"/>
                <a:gd name="connsiteY0" fmla="*/ 1620525 h 1620525"/>
                <a:gd name="connsiteX1" fmla="*/ 1564959 w 1572807"/>
                <a:gd name="connsiteY1" fmla="*/ 1620525 h 1620525"/>
                <a:gd name="connsiteX2" fmla="*/ 1564959 w 1572807"/>
                <a:gd name="connsiteY2" fmla="*/ 402149 h 1620525"/>
                <a:gd name="connsiteX3" fmla="*/ 1170659 w 1572807"/>
                <a:gd name="connsiteY3" fmla="*/ 7848 h 1620525"/>
                <a:gd name="connsiteX4" fmla="*/ 0 w 1572807"/>
                <a:gd name="connsiteY4" fmla="*/ 7848 h 1620525"/>
                <a:gd name="connsiteX5" fmla="*/ 0 w 1572807"/>
                <a:gd name="connsiteY5" fmla="*/ 0 h 1620525"/>
                <a:gd name="connsiteX6" fmla="*/ 1170659 w 1572807"/>
                <a:gd name="connsiteY6" fmla="*/ 0 h 1620525"/>
                <a:gd name="connsiteX7" fmla="*/ 1572808 w 1572807"/>
                <a:gd name="connsiteY7" fmla="*/ 402149 h 162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807" h="1620525">
                  <a:moveTo>
                    <a:pt x="1572808" y="1620525"/>
                  </a:moveTo>
                  <a:lnTo>
                    <a:pt x="1564959" y="1620525"/>
                  </a:lnTo>
                  <a:lnTo>
                    <a:pt x="1564959" y="402149"/>
                  </a:lnTo>
                  <a:cubicBezTo>
                    <a:pt x="1564959" y="184593"/>
                    <a:pt x="1388215" y="7848"/>
                    <a:pt x="1170659" y="7848"/>
                  </a:cubicBezTo>
                  <a:lnTo>
                    <a:pt x="0" y="7848"/>
                  </a:lnTo>
                  <a:lnTo>
                    <a:pt x="0" y="0"/>
                  </a:lnTo>
                  <a:lnTo>
                    <a:pt x="1170659" y="0"/>
                  </a:lnTo>
                  <a:cubicBezTo>
                    <a:pt x="1392610" y="0"/>
                    <a:pt x="1572808" y="180198"/>
                    <a:pt x="1572808" y="40214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299F563-2F60-F8F3-FEF9-C000E435CCEF}"/>
                </a:ext>
              </a:extLst>
            </p:cNvPr>
            <p:cNvSpPr/>
            <p:nvPr/>
          </p:nvSpPr>
          <p:spPr>
            <a:xfrm>
              <a:off x="5081329" y="-11928"/>
              <a:ext cx="1899298" cy="3436631"/>
            </a:xfrm>
            <a:custGeom>
              <a:avLst/>
              <a:gdLst>
                <a:gd name="connsiteX0" fmla="*/ 1899299 w 1899298"/>
                <a:gd name="connsiteY0" fmla="*/ 3436632 h 3436631"/>
                <a:gd name="connsiteX1" fmla="*/ 402149 w 1899298"/>
                <a:gd name="connsiteY1" fmla="*/ 3436632 h 3436631"/>
                <a:gd name="connsiteX2" fmla="*/ 0 w 1899298"/>
                <a:gd name="connsiteY2" fmla="*/ 3034483 h 3436631"/>
                <a:gd name="connsiteX3" fmla="*/ 0 w 1899298"/>
                <a:gd name="connsiteY3" fmla="*/ 0 h 3436631"/>
                <a:gd name="connsiteX4" fmla="*/ 7848 w 1899298"/>
                <a:gd name="connsiteY4" fmla="*/ 0 h 3436631"/>
                <a:gd name="connsiteX5" fmla="*/ 7848 w 1899298"/>
                <a:gd name="connsiteY5" fmla="*/ 3034483 h 3436631"/>
                <a:gd name="connsiteX6" fmla="*/ 402149 w 1899298"/>
                <a:gd name="connsiteY6" fmla="*/ 3428469 h 3436631"/>
                <a:gd name="connsiteX7" fmla="*/ 1899299 w 1899298"/>
                <a:gd name="connsiteY7" fmla="*/ 3428469 h 3436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9298" h="3436631">
                  <a:moveTo>
                    <a:pt x="1899299" y="3436632"/>
                  </a:moveTo>
                  <a:lnTo>
                    <a:pt x="402149" y="3436632"/>
                  </a:lnTo>
                  <a:cubicBezTo>
                    <a:pt x="180198" y="3436632"/>
                    <a:pt x="0" y="3256120"/>
                    <a:pt x="0" y="3034483"/>
                  </a:cubicBezTo>
                  <a:lnTo>
                    <a:pt x="0" y="0"/>
                  </a:lnTo>
                  <a:lnTo>
                    <a:pt x="7848" y="0"/>
                  </a:lnTo>
                  <a:lnTo>
                    <a:pt x="7848" y="3034483"/>
                  </a:lnTo>
                  <a:cubicBezTo>
                    <a:pt x="7848" y="3251725"/>
                    <a:pt x="184593" y="3428469"/>
                    <a:pt x="402149" y="3428469"/>
                  </a:cubicBezTo>
                  <a:lnTo>
                    <a:pt x="1899299" y="342846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F36C6BB-CA93-D35A-ED91-09029AE875A3}"/>
                </a:ext>
              </a:extLst>
            </p:cNvPr>
            <p:cNvSpPr/>
            <p:nvPr/>
          </p:nvSpPr>
          <p:spPr>
            <a:xfrm>
              <a:off x="3607725" y="-11928"/>
              <a:ext cx="3508208" cy="1501230"/>
            </a:xfrm>
            <a:custGeom>
              <a:avLst/>
              <a:gdLst>
                <a:gd name="connsiteX0" fmla="*/ 3508209 w 3508208"/>
                <a:gd name="connsiteY0" fmla="*/ 1501231 h 1501230"/>
                <a:gd name="connsiteX1" fmla="*/ 402149 w 3508208"/>
                <a:gd name="connsiteY1" fmla="*/ 1501231 h 1501230"/>
                <a:gd name="connsiteX2" fmla="*/ 0 w 3508208"/>
                <a:gd name="connsiteY2" fmla="*/ 1099082 h 1501230"/>
                <a:gd name="connsiteX3" fmla="*/ 0 w 3508208"/>
                <a:gd name="connsiteY3" fmla="*/ 0 h 1501230"/>
                <a:gd name="connsiteX4" fmla="*/ 8163 w 3508208"/>
                <a:gd name="connsiteY4" fmla="*/ 0 h 1501230"/>
                <a:gd name="connsiteX5" fmla="*/ 8163 w 3508208"/>
                <a:gd name="connsiteY5" fmla="*/ 1099082 h 1501230"/>
                <a:gd name="connsiteX6" fmla="*/ 402149 w 3508208"/>
                <a:gd name="connsiteY6" fmla="*/ 1493382 h 1501230"/>
                <a:gd name="connsiteX7" fmla="*/ 3508209 w 3508208"/>
                <a:gd name="connsiteY7" fmla="*/ 1493382 h 150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08208" h="1501230">
                  <a:moveTo>
                    <a:pt x="3508209" y="1501231"/>
                  </a:moveTo>
                  <a:lnTo>
                    <a:pt x="402149" y="1501231"/>
                  </a:lnTo>
                  <a:cubicBezTo>
                    <a:pt x="180512" y="1501231"/>
                    <a:pt x="0" y="1320719"/>
                    <a:pt x="0" y="1099082"/>
                  </a:cubicBezTo>
                  <a:lnTo>
                    <a:pt x="0" y="0"/>
                  </a:lnTo>
                  <a:lnTo>
                    <a:pt x="8163" y="0"/>
                  </a:lnTo>
                  <a:lnTo>
                    <a:pt x="8163" y="1099082"/>
                  </a:lnTo>
                  <a:cubicBezTo>
                    <a:pt x="8163" y="1316324"/>
                    <a:pt x="184907" y="1493382"/>
                    <a:pt x="402149" y="1493382"/>
                  </a:cubicBezTo>
                  <a:lnTo>
                    <a:pt x="3508209" y="149338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9034B06-B43E-5A44-2343-A5D8FE806300}"/>
                </a:ext>
              </a:extLst>
            </p:cNvPr>
            <p:cNvSpPr/>
            <p:nvPr/>
          </p:nvSpPr>
          <p:spPr>
            <a:xfrm>
              <a:off x="-11929" y="2556676"/>
              <a:ext cx="1903379" cy="7848"/>
            </a:xfrm>
            <a:custGeom>
              <a:avLst/>
              <a:gdLst>
                <a:gd name="connsiteX0" fmla="*/ 1903380 w 1903379"/>
                <a:gd name="connsiteY0" fmla="*/ 7848 h 7848"/>
                <a:gd name="connsiteX1" fmla="*/ 0 w 1903379"/>
                <a:gd name="connsiteY1" fmla="*/ 7848 h 7848"/>
                <a:gd name="connsiteX2" fmla="*/ 0 w 1903379"/>
                <a:gd name="connsiteY2" fmla="*/ 0 h 7848"/>
                <a:gd name="connsiteX3" fmla="*/ 1903380 w 1903379"/>
                <a:gd name="connsiteY3" fmla="*/ 0 h 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3379" h="7848">
                  <a:moveTo>
                    <a:pt x="1903380" y="7848"/>
                  </a:moveTo>
                  <a:lnTo>
                    <a:pt x="0" y="7848"/>
                  </a:lnTo>
                  <a:lnTo>
                    <a:pt x="0" y="0"/>
                  </a:lnTo>
                  <a:lnTo>
                    <a:pt x="190338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C88CB9A-B212-A171-7169-1AB1E9185750}"/>
                </a:ext>
              </a:extLst>
            </p:cNvPr>
            <p:cNvSpPr/>
            <p:nvPr/>
          </p:nvSpPr>
          <p:spPr>
            <a:xfrm>
              <a:off x="5981063" y="226189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45BA3AB-B148-7AD4-0A6E-AA42C15DB083}"/>
                </a:ext>
              </a:extLst>
            </p:cNvPr>
            <p:cNvSpPr/>
            <p:nvPr/>
          </p:nvSpPr>
          <p:spPr>
            <a:xfrm>
              <a:off x="5049308" y="1115093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9C121D9-04DF-8B24-7DF6-98700F1A1FD3}"/>
                </a:ext>
              </a:extLst>
            </p:cNvPr>
            <p:cNvSpPr/>
            <p:nvPr/>
          </p:nvSpPr>
          <p:spPr>
            <a:xfrm>
              <a:off x="5049308" y="1361845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9 w 71576"/>
                <a:gd name="connsiteY1" fmla="*/ 71577 h 71576"/>
                <a:gd name="connsiteX2" fmla="*/ 0 w 71576"/>
                <a:gd name="connsiteY2" fmla="*/ 35789 h 71576"/>
                <a:gd name="connsiteX3" fmla="*/ 35789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9C96014-19EA-3F56-5FF8-D5BFAB17C59F}"/>
                </a:ext>
              </a:extLst>
            </p:cNvPr>
            <p:cNvSpPr/>
            <p:nvPr/>
          </p:nvSpPr>
          <p:spPr>
            <a:xfrm>
              <a:off x="5997074" y="1449432"/>
              <a:ext cx="71576" cy="71890"/>
            </a:xfrm>
            <a:custGeom>
              <a:avLst/>
              <a:gdLst>
                <a:gd name="connsiteX0" fmla="*/ 71577 w 71576"/>
                <a:gd name="connsiteY0" fmla="*/ 35788 h 71890"/>
                <a:gd name="connsiteX1" fmla="*/ 35788 w 71576"/>
                <a:gd name="connsiteY1" fmla="*/ 71891 h 71890"/>
                <a:gd name="connsiteX2" fmla="*/ 0 w 71576"/>
                <a:gd name="connsiteY2" fmla="*/ 35788 h 71890"/>
                <a:gd name="connsiteX3" fmla="*/ 35788 w 71576"/>
                <a:gd name="connsiteY3" fmla="*/ 0 h 71890"/>
                <a:gd name="connsiteX4" fmla="*/ 71577 w 71576"/>
                <a:gd name="connsiteY4" fmla="*/ 35788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5788"/>
                  </a:moveTo>
                  <a:cubicBezTo>
                    <a:pt x="71577" y="55566"/>
                    <a:pt x="55566" y="71891"/>
                    <a:pt x="35788" y="71891"/>
                  </a:cubicBezTo>
                  <a:cubicBezTo>
                    <a:pt x="16011" y="71891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FA0F98-76FA-D505-58C2-E2CAFC54D292}"/>
                </a:ext>
              </a:extLst>
            </p:cNvPr>
            <p:cNvSpPr/>
            <p:nvPr/>
          </p:nvSpPr>
          <p:spPr>
            <a:xfrm>
              <a:off x="5328081" y="2269741"/>
              <a:ext cx="71577" cy="71890"/>
            </a:xfrm>
            <a:custGeom>
              <a:avLst/>
              <a:gdLst>
                <a:gd name="connsiteX0" fmla="*/ 71577 w 71577"/>
                <a:gd name="connsiteY0" fmla="*/ 35789 h 71890"/>
                <a:gd name="connsiteX1" fmla="*/ 35789 w 71577"/>
                <a:gd name="connsiteY1" fmla="*/ 71891 h 71890"/>
                <a:gd name="connsiteX2" fmla="*/ 0 w 71577"/>
                <a:gd name="connsiteY2" fmla="*/ 35789 h 71890"/>
                <a:gd name="connsiteX3" fmla="*/ 35789 w 71577"/>
                <a:gd name="connsiteY3" fmla="*/ 0 h 71890"/>
                <a:gd name="connsiteX4" fmla="*/ 71577 w 71577"/>
                <a:gd name="connsiteY4" fmla="*/ 35789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5789"/>
                  </a:moveTo>
                  <a:cubicBezTo>
                    <a:pt x="71577" y="55566"/>
                    <a:pt x="55566" y="71891"/>
                    <a:pt x="35789" y="71891"/>
                  </a:cubicBezTo>
                  <a:cubicBezTo>
                    <a:pt x="16011" y="71891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5C1A39-12C1-0625-60EF-7F9880D5674A}"/>
                </a:ext>
              </a:extLst>
            </p:cNvPr>
            <p:cNvSpPr/>
            <p:nvPr/>
          </p:nvSpPr>
          <p:spPr>
            <a:xfrm>
              <a:off x="3145928" y="700700"/>
              <a:ext cx="71577" cy="71890"/>
            </a:xfrm>
            <a:custGeom>
              <a:avLst/>
              <a:gdLst>
                <a:gd name="connsiteX0" fmla="*/ 71577 w 71577"/>
                <a:gd name="connsiteY0" fmla="*/ 36102 h 71890"/>
                <a:gd name="connsiteX1" fmla="*/ 35789 w 71577"/>
                <a:gd name="connsiteY1" fmla="*/ 71891 h 71890"/>
                <a:gd name="connsiteX2" fmla="*/ 0 w 71577"/>
                <a:gd name="connsiteY2" fmla="*/ 36102 h 71890"/>
                <a:gd name="connsiteX3" fmla="*/ 35789 w 71577"/>
                <a:gd name="connsiteY3" fmla="*/ 0 h 71890"/>
                <a:gd name="connsiteX4" fmla="*/ 71577 w 71577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7" h="71890">
                  <a:moveTo>
                    <a:pt x="71577" y="36102"/>
                  </a:moveTo>
                  <a:cubicBezTo>
                    <a:pt x="71577" y="55880"/>
                    <a:pt x="55566" y="71891"/>
                    <a:pt x="35789" y="71891"/>
                  </a:cubicBezTo>
                  <a:cubicBezTo>
                    <a:pt x="16011" y="71891"/>
                    <a:pt x="0" y="55880"/>
                    <a:pt x="0" y="36102"/>
                  </a:cubicBezTo>
                  <a:cubicBezTo>
                    <a:pt x="0" y="16325"/>
                    <a:pt x="16011" y="0"/>
                    <a:pt x="35789" y="0"/>
                  </a:cubicBezTo>
                  <a:cubicBezTo>
                    <a:pt x="55566" y="0"/>
                    <a:pt x="71577" y="16325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71A7337-807F-9DC8-A384-EC573FC0BCB2}"/>
                </a:ext>
              </a:extLst>
            </p:cNvPr>
            <p:cNvSpPr/>
            <p:nvPr/>
          </p:nvSpPr>
          <p:spPr>
            <a:xfrm>
              <a:off x="1680486" y="1210529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9 w 71576"/>
                <a:gd name="connsiteY1" fmla="*/ 71577 h 71576"/>
                <a:gd name="connsiteX2" fmla="*/ 0 w 71576"/>
                <a:gd name="connsiteY2" fmla="*/ 35788 h 71576"/>
                <a:gd name="connsiteX3" fmla="*/ 35789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9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9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FE05741-7803-3557-A64B-F8EA1E277BCB}"/>
                </a:ext>
              </a:extLst>
            </p:cNvPr>
            <p:cNvSpPr/>
            <p:nvPr/>
          </p:nvSpPr>
          <p:spPr>
            <a:xfrm>
              <a:off x="2954743" y="2668122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2A099F8-1399-47A0-D38B-C952F4B67376}"/>
                </a:ext>
              </a:extLst>
            </p:cNvPr>
            <p:cNvSpPr/>
            <p:nvPr/>
          </p:nvSpPr>
          <p:spPr>
            <a:xfrm>
              <a:off x="788601" y="2524655"/>
              <a:ext cx="71576" cy="71576"/>
            </a:xfrm>
            <a:custGeom>
              <a:avLst/>
              <a:gdLst>
                <a:gd name="connsiteX0" fmla="*/ 71577 w 71576"/>
                <a:gd name="connsiteY0" fmla="*/ 35788 h 71576"/>
                <a:gd name="connsiteX1" fmla="*/ 35788 w 71576"/>
                <a:gd name="connsiteY1" fmla="*/ 71577 h 71576"/>
                <a:gd name="connsiteX2" fmla="*/ 0 w 71576"/>
                <a:gd name="connsiteY2" fmla="*/ 35788 h 71576"/>
                <a:gd name="connsiteX3" fmla="*/ 35788 w 71576"/>
                <a:gd name="connsiteY3" fmla="*/ 0 h 71576"/>
                <a:gd name="connsiteX4" fmla="*/ 71577 w 71576"/>
                <a:gd name="connsiteY4" fmla="*/ 35788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8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8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5BF1609-D0F2-7F64-705E-33F439829265}"/>
                </a:ext>
              </a:extLst>
            </p:cNvPr>
            <p:cNvSpPr/>
            <p:nvPr/>
          </p:nvSpPr>
          <p:spPr>
            <a:xfrm>
              <a:off x="2954743" y="2914874"/>
              <a:ext cx="71576" cy="71576"/>
            </a:xfrm>
            <a:custGeom>
              <a:avLst/>
              <a:gdLst>
                <a:gd name="connsiteX0" fmla="*/ 71577 w 71576"/>
                <a:gd name="connsiteY0" fmla="*/ 35789 h 71576"/>
                <a:gd name="connsiteX1" fmla="*/ 35788 w 71576"/>
                <a:gd name="connsiteY1" fmla="*/ 71577 h 71576"/>
                <a:gd name="connsiteX2" fmla="*/ 0 w 71576"/>
                <a:gd name="connsiteY2" fmla="*/ 35789 h 71576"/>
                <a:gd name="connsiteX3" fmla="*/ 35788 w 71576"/>
                <a:gd name="connsiteY3" fmla="*/ 0 h 71576"/>
                <a:gd name="connsiteX4" fmla="*/ 71577 w 71576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576">
                  <a:moveTo>
                    <a:pt x="71577" y="35789"/>
                  </a:moveTo>
                  <a:cubicBezTo>
                    <a:pt x="71577" y="55566"/>
                    <a:pt x="55566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566" y="0"/>
                    <a:pt x="71577" y="16011"/>
                    <a:pt x="71577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27B5C0-A814-02B8-A6FD-D3415565E4BF}"/>
                </a:ext>
              </a:extLst>
            </p:cNvPr>
            <p:cNvSpPr/>
            <p:nvPr/>
          </p:nvSpPr>
          <p:spPr>
            <a:xfrm>
              <a:off x="2166142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6102 w 71890"/>
                <a:gd name="connsiteY1" fmla="*/ 71577 h 71576"/>
                <a:gd name="connsiteX2" fmla="*/ 0 w 71890"/>
                <a:gd name="connsiteY2" fmla="*/ 35789 h 71576"/>
                <a:gd name="connsiteX3" fmla="*/ 36102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6102" y="71577"/>
                  </a:cubicBezTo>
                  <a:cubicBezTo>
                    <a:pt x="16325" y="71577"/>
                    <a:pt x="0" y="55566"/>
                    <a:pt x="0" y="35789"/>
                  </a:cubicBezTo>
                  <a:cubicBezTo>
                    <a:pt x="0" y="16011"/>
                    <a:pt x="16325" y="0"/>
                    <a:pt x="36102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E05C90C-56CD-2776-65DA-A86EC89EFE5D}"/>
                </a:ext>
              </a:extLst>
            </p:cNvPr>
            <p:cNvSpPr/>
            <p:nvPr/>
          </p:nvSpPr>
          <p:spPr>
            <a:xfrm>
              <a:off x="3846629" y="4619220"/>
              <a:ext cx="71890" cy="71576"/>
            </a:xfrm>
            <a:custGeom>
              <a:avLst/>
              <a:gdLst>
                <a:gd name="connsiteX0" fmla="*/ 71891 w 71890"/>
                <a:gd name="connsiteY0" fmla="*/ 35789 h 71576"/>
                <a:gd name="connsiteX1" fmla="*/ 35788 w 71890"/>
                <a:gd name="connsiteY1" fmla="*/ 71577 h 71576"/>
                <a:gd name="connsiteX2" fmla="*/ 0 w 71890"/>
                <a:gd name="connsiteY2" fmla="*/ 35789 h 71576"/>
                <a:gd name="connsiteX3" fmla="*/ 35788 w 71890"/>
                <a:gd name="connsiteY3" fmla="*/ 0 h 71576"/>
                <a:gd name="connsiteX4" fmla="*/ 71891 w 71890"/>
                <a:gd name="connsiteY4" fmla="*/ 35789 h 7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0" h="71576">
                  <a:moveTo>
                    <a:pt x="71891" y="35789"/>
                  </a:moveTo>
                  <a:cubicBezTo>
                    <a:pt x="71891" y="55566"/>
                    <a:pt x="55880" y="71577"/>
                    <a:pt x="35788" y="71577"/>
                  </a:cubicBezTo>
                  <a:cubicBezTo>
                    <a:pt x="16011" y="71577"/>
                    <a:pt x="0" y="55566"/>
                    <a:pt x="0" y="35789"/>
                  </a:cubicBezTo>
                  <a:cubicBezTo>
                    <a:pt x="0" y="16011"/>
                    <a:pt x="16011" y="0"/>
                    <a:pt x="35788" y="0"/>
                  </a:cubicBezTo>
                  <a:cubicBezTo>
                    <a:pt x="55880" y="0"/>
                    <a:pt x="71891" y="16011"/>
                    <a:pt x="71891" y="357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3539089-F024-CEAA-2C1D-80753D9A96FE}"/>
                </a:ext>
              </a:extLst>
            </p:cNvPr>
            <p:cNvSpPr/>
            <p:nvPr/>
          </p:nvSpPr>
          <p:spPr>
            <a:xfrm>
              <a:off x="1521322" y="5789879"/>
              <a:ext cx="71576" cy="71890"/>
            </a:xfrm>
            <a:custGeom>
              <a:avLst/>
              <a:gdLst>
                <a:gd name="connsiteX0" fmla="*/ 71577 w 71576"/>
                <a:gd name="connsiteY0" fmla="*/ 36102 h 71890"/>
                <a:gd name="connsiteX1" fmla="*/ 35788 w 71576"/>
                <a:gd name="connsiteY1" fmla="*/ 71890 h 71890"/>
                <a:gd name="connsiteX2" fmla="*/ 0 w 71576"/>
                <a:gd name="connsiteY2" fmla="*/ 36102 h 71890"/>
                <a:gd name="connsiteX3" fmla="*/ 35788 w 71576"/>
                <a:gd name="connsiteY3" fmla="*/ 0 h 71890"/>
                <a:gd name="connsiteX4" fmla="*/ 71577 w 71576"/>
                <a:gd name="connsiteY4" fmla="*/ 36102 h 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6" h="71890">
                  <a:moveTo>
                    <a:pt x="71577" y="36102"/>
                  </a:moveTo>
                  <a:cubicBezTo>
                    <a:pt x="71577" y="55880"/>
                    <a:pt x="55566" y="71890"/>
                    <a:pt x="35788" y="71890"/>
                  </a:cubicBezTo>
                  <a:cubicBezTo>
                    <a:pt x="16011" y="71890"/>
                    <a:pt x="0" y="55880"/>
                    <a:pt x="0" y="36102"/>
                  </a:cubicBezTo>
                  <a:cubicBezTo>
                    <a:pt x="0" y="16324"/>
                    <a:pt x="16011" y="0"/>
                    <a:pt x="35788" y="0"/>
                  </a:cubicBezTo>
                  <a:cubicBezTo>
                    <a:pt x="55566" y="0"/>
                    <a:pt x="71577" y="16324"/>
                    <a:pt x="71577" y="3610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BD1FAB8-E278-2CF8-573E-7DFCC80A86E6}"/>
                </a:ext>
              </a:extLst>
            </p:cNvPr>
            <p:cNvSpPr/>
            <p:nvPr/>
          </p:nvSpPr>
          <p:spPr>
            <a:xfrm>
              <a:off x="1839651" y="2508644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68820CC-AAE9-A4D7-893C-939BB6E7F6FE}"/>
                </a:ext>
              </a:extLst>
            </p:cNvPr>
            <p:cNvSpPr/>
            <p:nvPr/>
          </p:nvSpPr>
          <p:spPr>
            <a:xfrm>
              <a:off x="7064134" y="143342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2" y="103598"/>
                    <a:pt x="0" y="80367"/>
                    <a:pt x="0" y="51799"/>
                  </a:cubicBezTo>
                  <a:cubicBezTo>
                    <a:pt x="0" y="23231"/>
                    <a:pt x="23232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8D30843-0DF2-2719-0E4C-60D8EB984E51}"/>
                </a:ext>
              </a:extLst>
            </p:cNvPr>
            <p:cNvSpPr/>
            <p:nvPr/>
          </p:nvSpPr>
          <p:spPr>
            <a:xfrm>
              <a:off x="6928829" y="3368822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FC2D51A-41D5-AE8C-AC3C-ADE8AB8AB931}"/>
                </a:ext>
              </a:extLst>
            </p:cNvPr>
            <p:cNvSpPr/>
            <p:nvPr userDrawn="1"/>
          </p:nvSpPr>
          <p:spPr>
            <a:xfrm>
              <a:off x="6474881" y="5388171"/>
              <a:ext cx="103598" cy="103598"/>
            </a:xfrm>
            <a:custGeom>
              <a:avLst/>
              <a:gdLst>
                <a:gd name="connsiteX0" fmla="*/ 103598 w 103598"/>
                <a:gd name="connsiteY0" fmla="*/ 51799 h 103598"/>
                <a:gd name="connsiteX1" fmla="*/ 51799 w 103598"/>
                <a:gd name="connsiteY1" fmla="*/ 103598 h 103598"/>
                <a:gd name="connsiteX2" fmla="*/ 0 w 103598"/>
                <a:gd name="connsiteY2" fmla="*/ 51799 h 103598"/>
                <a:gd name="connsiteX3" fmla="*/ 51799 w 103598"/>
                <a:gd name="connsiteY3" fmla="*/ 0 h 103598"/>
                <a:gd name="connsiteX4" fmla="*/ 103598 w 103598"/>
                <a:gd name="connsiteY4" fmla="*/ 51799 h 10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98" h="103598">
                  <a:moveTo>
                    <a:pt x="103598" y="51799"/>
                  </a:moveTo>
                  <a:cubicBezTo>
                    <a:pt x="103598" y="80367"/>
                    <a:pt x="80367" y="103598"/>
                    <a:pt x="51799" y="103598"/>
                  </a:cubicBezTo>
                  <a:cubicBezTo>
                    <a:pt x="23231" y="103598"/>
                    <a:pt x="0" y="80367"/>
                    <a:pt x="0" y="51799"/>
                  </a:cubicBezTo>
                  <a:cubicBezTo>
                    <a:pt x="0" y="23231"/>
                    <a:pt x="23231" y="0"/>
                    <a:pt x="51799" y="0"/>
                  </a:cubicBezTo>
                  <a:cubicBezTo>
                    <a:pt x="80367" y="0"/>
                    <a:pt x="103598" y="23231"/>
                    <a:pt x="103598" y="51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62000"/>
              </a:schemeClr>
            </a:solidFill>
            <a:ln w="31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64842120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00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831979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783AD9A-61A7-DB66-FD3C-DB525BFE2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280640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6" progId="TCLayout.ActiveDocument.1">
                  <p:embed/>
                </p:oleObj>
              </mc:Choice>
              <mc:Fallback>
                <p:oleObj name="think-cell Slide" r:id="rId51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783AD9A-61A7-DB66-FD3C-DB525BFE2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9404D-C690-49B1-A383-63A32B911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4" y="215901"/>
            <a:ext cx="11588400" cy="77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251720-3CE2-4216-B8AE-F11B1138E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1624" y="1135063"/>
            <a:ext cx="11588400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667E5A-0E78-1CED-FA2E-5248BF866E23}"/>
              </a:ext>
            </a:extLst>
          </p:cNvPr>
          <p:cNvCxnSpPr>
            <a:cxnSpLocks/>
          </p:cNvCxnSpPr>
          <p:nvPr userDrawn="1"/>
        </p:nvCxnSpPr>
        <p:spPr>
          <a:xfrm>
            <a:off x="-11112" y="6345324"/>
            <a:ext cx="11588400" cy="0"/>
          </a:xfrm>
          <a:prstGeom prst="line">
            <a:avLst/>
          </a:prstGeom>
          <a:ln w="15875">
            <a:gradFill>
              <a:gsLst>
                <a:gs pos="0">
                  <a:schemeClr val="accent2"/>
                </a:gs>
                <a:gs pos="25000">
                  <a:schemeClr val="accent2"/>
                </a:gs>
                <a:gs pos="45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5">
            <a:extLst>
              <a:ext uri="{FF2B5EF4-FFF2-40B4-BE49-F238E27FC236}">
                <a16:creationId xmlns:a16="http://schemas.microsoft.com/office/drawing/2014/main" id="{F6E2EF42-4260-CCCE-D366-D5F3E4BE489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661414" y="6500138"/>
            <a:ext cx="2591374" cy="246888"/>
          </a:xfrm>
          <a:prstGeom prst="rect">
            <a:avLst/>
          </a:prstGeom>
          <a:ln/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GB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BA5A083-41FC-AAC5-59DA-F4C397296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anchor="ctr"/>
          <a:lstStyle>
            <a:lvl1pPr>
              <a:defRPr sz="1000"/>
            </a:lvl1pPr>
          </a:lstStyle>
          <a:p>
            <a:fld id="{B607D717-EBD7-4547-9BED-5BE954E67841}" type="slidenum">
              <a:rPr lang="en-GB" smtClean="0">
                <a:solidFill>
                  <a:srgbClr val="626469"/>
                </a:solidFill>
              </a:rPr>
              <a:pPr/>
              <a:t>‹#›</a:t>
            </a:fld>
            <a:endParaRPr lang="en-GB">
              <a:solidFill>
                <a:srgbClr val="626469"/>
              </a:solidFill>
            </a:endParaRPr>
          </a:p>
        </p:txBody>
      </p:sp>
      <p:pic>
        <p:nvPicPr>
          <p:cNvPr id="42" name="Picture 14" descr="https://syngenta.sharepoint.com/sites/cropwise/Syngenta%20Digital%20Logo/Syngenta%20Digital%20Logo/RGB/PNG/Full%20Colour/RGB_Syngenta%E2%94%AC%C2%ABDigital_Logo_Only-01.png">
            <a:extLst>
              <a:ext uri="{FF2B5EF4-FFF2-40B4-BE49-F238E27FC236}">
                <a16:creationId xmlns:a16="http://schemas.microsoft.com/office/drawing/2014/main" id="{17C08D68-C75C-0354-C2C0-9D93E2384F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61" y="6237798"/>
            <a:ext cx="1016574" cy="72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53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4" r:id="rId2"/>
    <p:sldLayoutId id="2147483829" r:id="rId3"/>
    <p:sldLayoutId id="2147483868" r:id="rId4"/>
    <p:sldLayoutId id="2147483828" r:id="rId5"/>
    <p:sldLayoutId id="2147483863" r:id="rId6"/>
    <p:sldLayoutId id="2147483867" r:id="rId7"/>
    <p:sldLayoutId id="2147483849" r:id="rId8"/>
    <p:sldLayoutId id="2147483864" r:id="rId9"/>
    <p:sldLayoutId id="2147483832" r:id="rId10"/>
    <p:sldLayoutId id="2147483830" r:id="rId11"/>
    <p:sldLayoutId id="2147483833" r:id="rId12"/>
    <p:sldLayoutId id="2147483835" r:id="rId13"/>
    <p:sldLayoutId id="2147483839" r:id="rId14"/>
    <p:sldLayoutId id="2147483873" r:id="rId15"/>
    <p:sldLayoutId id="2147483834" r:id="rId16"/>
    <p:sldLayoutId id="2147483838" r:id="rId17"/>
    <p:sldLayoutId id="2147483841" r:id="rId18"/>
    <p:sldLayoutId id="2147483850" r:id="rId19"/>
    <p:sldLayoutId id="2147483847" r:id="rId20"/>
    <p:sldLayoutId id="2147483848" r:id="rId21"/>
    <p:sldLayoutId id="2147483845" r:id="rId22"/>
    <p:sldLayoutId id="2147483875" r:id="rId23"/>
    <p:sldLayoutId id="2147483876" r:id="rId24"/>
    <p:sldLayoutId id="2147483877" r:id="rId25"/>
    <p:sldLayoutId id="2147483853" r:id="rId26"/>
    <p:sldLayoutId id="2147483854" r:id="rId27"/>
    <p:sldLayoutId id="2147483855" r:id="rId28"/>
    <p:sldLayoutId id="2147483856" r:id="rId29"/>
    <p:sldLayoutId id="2147483857" r:id="rId30"/>
    <p:sldLayoutId id="2147483859" r:id="rId31"/>
    <p:sldLayoutId id="2147483874" r:id="rId32"/>
    <p:sldLayoutId id="2147483860" r:id="rId33"/>
    <p:sldLayoutId id="2147483869" r:id="rId34"/>
    <p:sldLayoutId id="2147483861" r:id="rId35"/>
    <p:sldLayoutId id="2147483870" r:id="rId36"/>
    <p:sldLayoutId id="2147483831" r:id="rId37"/>
    <p:sldLayoutId id="2147483865" r:id="rId38"/>
    <p:sldLayoutId id="2147483851" r:id="rId39"/>
    <p:sldLayoutId id="2147483852" r:id="rId40"/>
    <p:sldLayoutId id="2147483842" r:id="rId41"/>
    <p:sldLayoutId id="2147483866" r:id="rId42"/>
    <p:sldLayoutId id="2147483871" r:id="rId43"/>
    <p:sldLayoutId id="2147483843" r:id="rId44"/>
    <p:sldLayoutId id="2147483862" r:id="rId45"/>
    <p:sldLayoutId id="2147483872" r:id="rId46"/>
    <p:sldLayoutId id="2147483844" r:id="rId47"/>
    <p:sldLayoutId id="2147483846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73" userDrawn="1">
          <p15:clr>
            <a:srgbClr val="F26B43"/>
          </p15:clr>
        </p15:guide>
        <p15:guide id="3" pos="184" userDrawn="1">
          <p15:clr>
            <a:srgbClr val="F26B43"/>
          </p15:clr>
        </p15:guide>
        <p15:guide id="4" pos="3696" userDrawn="1">
          <p15:clr>
            <a:srgbClr val="F26B43"/>
          </p15:clr>
        </p15:guide>
        <p15:guide id="5" pos="3984" userDrawn="1">
          <p15:clr>
            <a:srgbClr val="F26B43"/>
          </p15:clr>
        </p15:guide>
        <p15:guide id="6" pos="7495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4320" userDrawn="1">
          <p15:clr>
            <a:srgbClr val="F26B43"/>
          </p15:clr>
        </p15:guide>
        <p15:guide id="9" orient="horz" pos="135" userDrawn="1">
          <p15:clr>
            <a:srgbClr val="F26B43"/>
          </p15:clr>
        </p15:guide>
        <p15:guide id="10" orient="horz" pos="3888" userDrawn="1">
          <p15:clr>
            <a:srgbClr val="F26B43"/>
          </p15:clr>
        </p15:guide>
        <p15:guide id="11" orient="horz" pos="7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11" Type="http://schemas.openxmlformats.org/officeDocument/2006/relationships/image" Target="../media/image16.jpe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5.png"/><Relationship Id="rId4" Type="http://schemas.openxmlformats.org/officeDocument/2006/relationships/image" Target="../media/image11.png"/><Relationship Id="rId9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16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svg"/><Relationship Id="rId11" Type="http://schemas.openxmlformats.org/officeDocument/2006/relationships/image" Target="../media/image14.jpeg"/><Relationship Id="rId5" Type="http://schemas.openxmlformats.org/officeDocument/2006/relationships/image" Target="../media/image21.png"/><Relationship Id="rId15" Type="http://schemas.openxmlformats.org/officeDocument/2006/relationships/image" Target="../media/image18.jpeg"/><Relationship Id="rId10" Type="http://schemas.openxmlformats.org/officeDocument/2006/relationships/image" Target="../media/image13.png"/><Relationship Id="rId4" Type="http://schemas.openxmlformats.org/officeDocument/2006/relationships/image" Target="../media/image20.svg"/><Relationship Id="rId9" Type="http://schemas.openxmlformats.org/officeDocument/2006/relationships/image" Target="../media/image12.png"/><Relationship Id="rId1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microsoft.com/office/2007/relationships/hdphoto" Target="../media/hdphoto2.wdp"/><Relationship Id="rId7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8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5" Type="http://schemas.openxmlformats.org/officeDocument/2006/relationships/image" Target="../media/image12.png"/><Relationship Id="rId10" Type="http://schemas.openxmlformats.org/officeDocument/2006/relationships/image" Target="../media/image17.jpeg"/><Relationship Id="rId4" Type="http://schemas.microsoft.com/office/2007/relationships/hdphoto" Target="../media/hdphoto3.wdp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microsoft.com/office/2007/relationships/hdphoto" Target="../media/hdphoto4.wdp"/><Relationship Id="rId7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34.png"/><Relationship Id="rId3" Type="http://schemas.microsoft.com/office/2007/relationships/hdphoto" Target="../media/hdphoto5.wdp"/><Relationship Id="rId7" Type="http://schemas.openxmlformats.org/officeDocument/2006/relationships/image" Target="../media/image15.png"/><Relationship Id="rId12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jpeg"/><Relationship Id="rId11" Type="http://schemas.openxmlformats.org/officeDocument/2006/relationships/image" Target="../media/image32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jpeg"/><Relationship Id="rId7" Type="http://schemas.openxmlformats.org/officeDocument/2006/relationships/image" Target="../media/image41.gif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10" Type="http://schemas.openxmlformats.org/officeDocument/2006/relationships/image" Target="../media/image44.jpeg"/><Relationship Id="rId4" Type="http://schemas.openxmlformats.org/officeDocument/2006/relationships/image" Target="../media/image38.jpeg"/><Relationship Id="rId9" Type="http://schemas.openxmlformats.org/officeDocument/2006/relationships/image" Target="../media/image4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66000"/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AFE18FC-9585-14B2-1450-17E2C69A6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D5596BE-3B51-8E07-8C35-098B4219B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14672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9D5596BE-3B51-8E07-8C35-098B4219B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14672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A5FDF0F2-E9B6-207B-F3D5-49B5E9009DF5}"/>
              </a:ext>
            </a:extLst>
          </p:cNvPr>
          <p:cNvSpPr/>
          <p:nvPr/>
        </p:nvSpPr>
        <p:spPr>
          <a:xfrm>
            <a:off x="-110144" y="1120877"/>
            <a:ext cx="45719" cy="45719"/>
          </a:xfrm>
          <a:prstGeom prst="wedgeRoundRect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4FF34E-8A99-BE0D-3983-7D9B8138BE2B}"/>
              </a:ext>
            </a:extLst>
          </p:cNvPr>
          <p:cNvSpPr txBox="1"/>
          <p:nvPr/>
        </p:nvSpPr>
        <p:spPr>
          <a:xfrm>
            <a:off x="343273" y="2650222"/>
            <a:ext cx="89815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7200" b="1" i="0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640000" algn="bl" rotWithShape="0">
                    <a:schemeClr val="accent1"/>
                  </a:outerShdw>
                </a:effectLst>
                <a:latin typeface="Segoe UI" panose="020B0502040204020203" pitchFamily="34" charset="0"/>
              </a:rPr>
              <a:t>Internal Start Hack</a:t>
            </a:r>
            <a:endParaRPr lang="en-IN" sz="7200" b="1" dirty="0">
              <a:ln w="12700">
                <a:solidFill>
                  <a:schemeClr val="accent1"/>
                </a:solidFill>
                <a:prstDash val="solid"/>
              </a:ln>
              <a:solidFill>
                <a:srgbClr val="00004B"/>
              </a:solid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5B4B19-33C1-1F8D-D9BD-8B0E25246220}"/>
              </a:ext>
            </a:extLst>
          </p:cNvPr>
          <p:cNvGrpSpPr/>
          <p:nvPr/>
        </p:nvGrpSpPr>
        <p:grpSpPr>
          <a:xfrm rot="16200000">
            <a:off x="12512336" y="1567926"/>
            <a:ext cx="4790569" cy="4459311"/>
            <a:chOff x="4497903" y="912418"/>
            <a:chExt cx="5738610" cy="548356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0FB74E5-056D-8EE8-6E70-66B9A6E40B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707" t="609" r="13068" b="-609"/>
            <a:stretch/>
          </p:blipFill>
          <p:spPr>
            <a:xfrm rot="5696164">
              <a:off x="6737390" y="4571213"/>
              <a:ext cx="1310608" cy="2338937"/>
            </a:xfrm>
            <a:custGeom>
              <a:avLst/>
              <a:gdLst>
                <a:gd name="connsiteX0" fmla="*/ 712021 w 1042829"/>
                <a:gd name="connsiteY0" fmla="*/ 0 h 1861053"/>
                <a:gd name="connsiteX1" fmla="*/ 921710 w 1042829"/>
                <a:gd name="connsiteY1" fmla="*/ 1861053 h 1861053"/>
                <a:gd name="connsiteX2" fmla="*/ 127575 w 1042829"/>
                <a:gd name="connsiteY2" fmla="*/ 1583173 h 1861053"/>
                <a:gd name="connsiteX3" fmla="*/ 148438 w 1042829"/>
                <a:gd name="connsiteY3" fmla="*/ 1523527 h 1861053"/>
                <a:gd name="connsiteX4" fmla="*/ 51921 w 1042829"/>
                <a:gd name="connsiteY4" fmla="*/ 535255 h 1861053"/>
                <a:gd name="connsiteX5" fmla="*/ 0 w 1042829"/>
                <a:gd name="connsiteY5" fmla="*/ 447392 h 186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2829" h="1861053">
                  <a:moveTo>
                    <a:pt x="712021" y="0"/>
                  </a:moveTo>
                  <a:cubicBezTo>
                    <a:pt x="1061458" y="556127"/>
                    <a:pt x="1138637" y="1241112"/>
                    <a:pt x="921710" y="1861053"/>
                  </a:cubicBezTo>
                  <a:lnTo>
                    <a:pt x="127575" y="1583173"/>
                  </a:lnTo>
                  <a:lnTo>
                    <a:pt x="148438" y="1523527"/>
                  </a:lnTo>
                  <a:cubicBezTo>
                    <a:pt x="244955" y="1197434"/>
                    <a:pt x="212783" y="841358"/>
                    <a:pt x="51921" y="535255"/>
                  </a:cubicBezTo>
                  <a:lnTo>
                    <a:pt x="0" y="447392"/>
                  </a:lnTo>
                  <a:close/>
                </a:path>
              </a:pathLst>
            </a:cu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E39EA5A-352F-AFFB-2FAE-A926CAC40D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313" r="22356"/>
            <a:stretch/>
          </p:blipFill>
          <p:spPr>
            <a:xfrm rot="8396164">
              <a:off x="4989905" y="3797852"/>
              <a:ext cx="1221289" cy="2353676"/>
            </a:xfrm>
            <a:custGeom>
              <a:avLst/>
              <a:gdLst>
                <a:gd name="connsiteX0" fmla="*/ 758051 w 971758"/>
                <a:gd name="connsiteY0" fmla="*/ 0 h 1872780"/>
                <a:gd name="connsiteX1" fmla="*/ 758028 w 971758"/>
                <a:gd name="connsiteY1" fmla="*/ 1872780 h 1872780"/>
                <a:gd name="connsiteX2" fmla="*/ 0 w 971758"/>
                <a:gd name="connsiteY2" fmla="*/ 1507732 h 1872780"/>
                <a:gd name="connsiteX3" fmla="*/ 28082 w 971758"/>
                <a:gd name="connsiteY3" fmla="*/ 1449437 h 1872780"/>
                <a:gd name="connsiteX4" fmla="*/ 131666 w 971758"/>
                <a:gd name="connsiteY4" fmla="*/ 936366 h 1872780"/>
                <a:gd name="connsiteX5" fmla="*/ 28082 w 971758"/>
                <a:gd name="connsiteY5" fmla="*/ 423294 h 1872780"/>
                <a:gd name="connsiteX6" fmla="*/ 14 w 971758"/>
                <a:gd name="connsiteY6" fmla="*/ 365029 h 187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1758" h="1872780">
                  <a:moveTo>
                    <a:pt x="758051" y="0"/>
                  </a:moveTo>
                  <a:cubicBezTo>
                    <a:pt x="1043002" y="591745"/>
                    <a:pt x="1042994" y="1281042"/>
                    <a:pt x="758028" y="1872780"/>
                  </a:cubicBezTo>
                  <a:lnTo>
                    <a:pt x="0" y="1507732"/>
                  </a:lnTo>
                  <a:lnTo>
                    <a:pt x="28082" y="1449437"/>
                  </a:lnTo>
                  <a:cubicBezTo>
                    <a:pt x="94782" y="1291739"/>
                    <a:pt x="131666" y="1118360"/>
                    <a:pt x="131666" y="936366"/>
                  </a:cubicBezTo>
                  <a:cubicBezTo>
                    <a:pt x="131666" y="754371"/>
                    <a:pt x="94782" y="580992"/>
                    <a:pt x="28082" y="423294"/>
                  </a:cubicBezTo>
                  <a:lnTo>
                    <a:pt x="14" y="365029"/>
                  </a:lnTo>
                  <a:close/>
                </a:path>
              </a:pathLst>
            </a:cu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71321C3-ED2C-3412-6086-490E69B4DD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39" r="21489"/>
            <a:stretch/>
          </p:blipFill>
          <p:spPr>
            <a:xfrm rot="11096164">
              <a:off x="4497903" y="1908326"/>
              <a:ext cx="1310609" cy="2338937"/>
            </a:xfrm>
            <a:custGeom>
              <a:avLst/>
              <a:gdLst>
                <a:gd name="connsiteX0" fmla="*/ 921710 w 1042829"/>
                <a:gd name="connsiteY0" fmla="*/ 0 h 1861053"/>
                <a:gd name="connsiteX1" fmla="*/ 712020 w 1042829"/>
                <a:gd name="connsiteY1" fmla="*/ 1861053 h 1861053"/>
                <a:gd name="connsiteX2" fmla="*/ 0 w 1042829"/>
                <a:gd name="connsiteY2" fmla="*/ 1413660 h 1861053"/>
                <a:gd name="connsiteX3" fmla="*/ 51921 w 1042829"/>
                <a:gd name="connsiteY3" fmla="*/ 1325797 h 1861053"/>
                <a:gd name="connsiteX4" fmla="*/ 148438 w 1042829"/>
                <a:gd name="connsiteY4" fmla="*/ 337525 h 1861053"/>
                <a:gd name="connsiteX5" fmla="*/ 127575 w 1042829"/>
                <a:gd name="connsiteY5" fmla="*/ 277879 h 1861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2829" h="1861053">
                  <a:moveTo>
                    <a:pt x="921710" y="0"/>
                  </a:moveTo>
                  <a:cubicBezTo>
                    <a:pt x="1138637" y="619941"/>
                    <a:pt x="1061458" y="1304927"/>
                    <a:pt x="712020" y="1861053"/>
                  </a:cubicBezTo>
                  <a:lnTo>
                    <a:pt x="0" y="1413660"/>
                  </a:lnTo>
                  <a:lnTo>
                    <a:pt x="51921" y="1325797"/>
                  </a:lnTo>
                  <a:cubicBezTo>
                    <a:pt x="212783" y="1019695"/>
                    <a:pt x="244955" y="663618"/>
                    <a:pt x="148438" y="337525"/>
                  </a:cubicBezTo>
                  <a:lnTo>
                    <a:pt x="127575" y="277879"/>
                  </a:lnTo>
                  <a:close/>
                </a:path>
              </a:pathLst>
            </a:cu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514970B-230B-405E-5CBA-1725171C03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31" t="624" r="36357" b="-624"/>
            <a:stretch/>
          </p:blipFill>
          <p:spPr>
            <a:xfrm rot="14696164">
              <a:off x="5657490" y="416796"/>
              <a:ext cx="1248697" cy="2352087"/>
            </a:xfrm>
            <a:custGeom>
              <a:avLst/>
              <a:gdLst>
                <a:gd name="connsiteX0" fmla="*/ 743464 w 993567"/>
                <a:gd name="connsiteY0" fmla="*/ 0 h 1871516"/>
                <a:gd name="connsiteX1" fmla="*/ 813491 w 993567"/>
                <a:gd name="connsiteY1" fmla="*/ 1871516 h 1871516"/>
                <a:gd name="connsiteX2" fmla="*/ 42757 w 993567"/>
                <a:gd name="connsiteY2" fmla="*/ 1535249 h 1871516"/>
                <a:gd name="connsiteX3" fmla="*/ 81857 w 993567"/>
                <a:gd name="connsiteY3" fmla="*/ 1437436 h 1871516"/>
                <a:gd name="connsiteX4" fmla="*/ 108559 w 993567"/>
                <a:gd name="connsiteY4" fmla="*/ 667309 h 1871516"/>
                <a:gd name="connsiteX5" fmla="*/ 13937 w 993567"/>
                <a:gd name="connsiteY5" fmla="*/ 417644 h 1871516"/>
                <a:gd name="connsiteX6" fmla="*/ 0 w 993567"/>
                <a:gd name="connsiteY6" fmla="*/ 392931 h 1871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567" h="1871516">
                  <a:moveTo>
                    <a:pt x="743464" y="0"/>
                  </a:moveTo>
                  <a:cubicBezTo>
                    <a:pt x="1050364" y="580685"/>
                    <a:pt x="1076138" y="1269521"/>
                    <a:pt x="813491" y="1871516"/>
                  </a:cubicBezTo>
                  <a:lnTo>
                    <a:pt x="42757" y="1535249"/>
                  </a:lnTo>
                  <a:lnTo>
                    <a:pt x="81857" y="1437436"/>
                  </a:lnTo>
                  <a:cubicBezTo>
                    <a:pt x="164692" y="1197445"/>
                    <a:pt x="179214" y="930999"/>
                    <a:pt x="108559" y="667309"/>
                  </a:cubicBezTo>
                  <a:cubicBezTo>
                    <a:pt x="85007" y="579413"/>
                    <a:pt x="53105" y="495983"/>
                    <a:pt x="13937" y="417644"/>
                  </a:cubicBezTo>
                  <a:lnTo>
                    <a:pt x="0" y="392931"/>
                  </a:lnTo>
                  <a:close/>
                </a:path>
              </a:pathLst>
            </a:cu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285D844-1658-C71C-CD4A-F18583759C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679" r="24434"/>
            <a:stretch/>
          </p:blipFill>
          <p:spPr>
            <a:xfrm rot="17396164">
              <a:off x="7577486" y="377720"/>
              <a:ext cx="1277761" cy="2347157"/>
            </a:xfrm>
            <a:custGeom>
              <a:avLst/>
              <a:gdLst>
                <a:gd name="connsiteX0" fmla="*/ 867499 w 1016692"/>
                <a:gd name="connsiteY0" fmla="*/ 0 h 1867593"/>
                <a:gd name="connsiteX1" fmla="*/ 727543 w 1016692"/>
                <a:gd name="connsiteY1" fmla="*/ 1867593 h 1867593"/>
                <a:gd name="connsiteX2" fmla="*/ 0 w 1016692"/>
                <a:gd name="connsiteY2" fmla="*/ 1447545 h 1867593"/>
                <a:gd name="connsiteX3" fmla="*/ 93154 w 1016692"/>
                <a:gd name="connsiteY3" fmla="*/ 326852 h 1867593"/>
                <a:gd name="connsiteX4" fmla="*/ 84732 w 1016692"/>
                <a:gd name="connsiteY4" fmla="*/ 307214 h 186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692" h="1867593">
                  <a:moveTo>
                    <a:pt x="867499" y="0"/>
                  </a:moveTo>
                  <a:cubicBezTo>
                    <a:pt x="1107454" y="611396"/>
                    <a:pt x="1055942" y="1298788"/>
                    <a:pt x="727543" y="1867593"/>
                  </a:cubicBezTo>
                  <a:lnTo>
                    <a:pt x="0" y="1447545"/>
                  </a:lnTo>
                  <a:cubicBezTo>
                    <a:pt x="204744" y="1092919"/>
                    <a:pt x="225973" y="682699"/>
                    <a:pt x="93154" y="326852"/>
                  </a:cubicBezTo>
                  <a:lnTo>
                    <a:pt x="84732" y="307214"/>
                  </a:lnTo>
                  <a:close/>
                </a:path>
              </a:pathLst>
            </a:cu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F3A02DD-DE54-B7EC-E8FB-CC27539317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9" r="27416"/>
            <a:stretch/>
          </p:blipFill>
          <p:spPr>
            <a:xfrm rot="20996164">
              <a:off x="8782893" y="1811020"/>
              <a:ext cx="1277760" cy="2347154"/>
            </a:xfrm>
            <a:custGeom>
              <a:avLst/>
              <a:gdLst>
                <a:gd name="connsiteX0" fmla="*/ 727543 w 1016692"/>
                <a:gd name="connsiteY0" fmla="*/ 0 h 1867592"/>
                <a:gd name="connsiteX1" fmla="*/ 867499 w 1016692"/>
                <a:gd name="connsiteY1" fmla="*/ 1867592 h 1867592"/>
                <a:gd name="connsiteX2" fmla="*/ 84732 w 1016692"/>
                <a:gd name="connsiteY2" fmla="*/ 1560379 h 1867592"/>
                <a:gd name="connsiteX3" fmla="*/ 93154 w 1016692"/>
                <a:gd name="connsiteY3" fmla="*/ 1540740 h 1867592"/>
                <a:gd name="connsiteX4" fmla="*/ 0 w 1016692"/>
                <a:gd name="connsiteY4" fmla="*/ 420047 h 1867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692" h="1867592">
                  <a:moveTo>
                    <a:pt x="727543" y="0"/>
                  </a:moveTo>
                  <a:cubicBezTo>
                    <a:pt x="1055942" y="568804"/>
                    <a:pt x="1107455" y="1256196"/>
                    <a:pt x="867499" y="1867592"/>
                  </a:cubicBezTo>
                  <a:lnTo>
                    <a:pt x="84732" y="1560379"/>
                  </a:lnTo>
                  <a:lnTo>
                    <a:pt x="93154" y="1540740"/>
                  </a:lnTo>
                  <a:cubicBezTo>
                    <a:pt x="225973" y="1184894"/>
                    <a:pt x="204744" y="774674"/>
                    <a:pt x="0" y="420047"/>
                  </a:cubicBezTo>
                  <a:close/>
                </a:path>
              </a:pathLst>
            </a:cu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A91A600-3847-1DA3-C848-2CE506BF8D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25" r="36858"/>
            <a:stretch/>
          </p:blipFill>
          <p:spPr>
            <a:xfrm rot="2996164">
              <a:off x="8380132" y="3657522"/>
              <a:ext cx="1418042" cy="2294720"/>
            </a:xfrm>
            <a:custGeom>
              <a:avLst/>
              <a:gdLst>
                <a:gd name="connsiteX0" fmla="*/ 657439 w 1128312"/>
                <a:gd name="connsiteY0" fmla="*/ 0 h 1825870"/>
                <a:gd name="connsiteX1" fmla="*/ 1074182 w 1128312"/>
                <a:gd name="connsiteY1" fmla="*/ 1825870 h 1825870"/>
                <a:gd name="connsiteX2" fmla="*/ 254353 w 1128312"/>
                <a:gd name="connsiteY2" fmla="*/ 1638750 h 1825870"/>
                <a:gd name="connsiteX3" fmla="*/ 261419 w 1128312"/>
                <a:gd name="connsiteY3" fmla="*/ 1611270 h 1825870"/>
                <a:gd name="connsiteX4" fmla="*/ 288198 w 1128312"/>
                <a:gd name="connsiteY4" fmla="*/ 1345623 h 1825870"/>
                <a:gd name="connsiteX5" fmla="*/ 63084 w 1128312"/>
                <a:gd name="connsiteY5" fmla="*/ 608649 h 1825870"/>
                <a:gd name="connsiteX6" fmla="*/ 0 w 1128312"/>
                <a:gd name="connsiteY6" fmla="*/ 524288 h 18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8312" h="1825870">
                  <a:moveTo>
                    <a:pt x="657439" y="0"/>
                  </a:moveTo>
                  <a:cubicBezTo>
                    <a:pt x="1066946" y="513505"/>
                    <a:pt x="1220333" y="1185541"/>
                    <a:pt x="1074182" y="1825870"/>
                  </a:cubicBezTo>
                  <a:lnTo>
                    <a:pt x="254353" y="1638750"/>
                  </a:lnTo>
                  <a:lnTo>
                    <a:pt x="261419" y="1611270"/>
                  </a:lnTo>
                  <a:cubicBezTo>
                    <a:pt x="278978" y="1525464"/>
                    <a:pt x="288198" y="1436620"/>
                    <a:pt x="288198" y="1345623"/>
                  </a:cubicBezTo>
                  <a:cubicBezTo>
                    <a:pt x="288198" y="1072631"/>
                    <a:pt x="205209" y="819023"/>
                    <a:pt x="63084" y="608649"/>
                  </a:cubicBezTo>
                  <a:lnTo>
                    <a:pt x="0" y="524288"/>
                  </a:lnTo>
                  <a:close/>
                </a:path>
              </a:pathLst>
            </a:custGeom>
          </p:spPr>
        </p:pic>
      </p:grp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DDE8A61-4463-009D-7FB4-B5A66FCE9435}"/>
              </a:ext>
            </a:extLst>
          </p:cNvPr>
          <p:cNvSpPr txBox="1">
            <a:spLocks/>
          </p:cNvSpPr>
          <p:nvPr/>
        </p:nvSpPr>
        <p:spPr>
          <a:xfrm>
            <a:off x="661414" y="6500138"/>
            <a:ext cx="1993392" cy="246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80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9608FA6B-4866-2299-C837-63F3F86F07A2}"/>
              </a:ext>
            </a:extLst>
          </p:cNvPr>
          <p:cNvSpPr txBox="1">
            <a:spLocks/>
          </p:cNvSpPr>
          <p:nvPr/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en-GB" sz="800" smtClean="0">
                <a:solidFill>
                  <a:srgbClr val="626469"/>
                </a:solidFill>
              </a:rPr>
              <a:pPr/>
              <a:t>1</a:t>
            </a:fld>
            <a:endParaRPr lang="en-GB" sz="80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636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41">
            <a:extLst>
              <a:ext uri="{FF2B5EF4-FFF2-40B4-BE49-F238E27FC236}">
                <a16:creationId xmlns:a16="http://schemas.microsoft.com/office/drawing/2014/main" id="{D5E5DC8A-CB01-AA9B-8401-3AD5A4626F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14372" y="4106534"/>
            <a:ext cx="12306372" cy="276587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6E98163-8B2E-4C35-C265-D585DA25305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955" t="14922" r="3726" b="1353"/>
          <a:stretch/>
        </p:blipFill>
        <p:spPr>
          <a:xfrm>
            <a:off x="-67345" y="-276830"/>
            <a:ext cx="12192000" cy="68580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8B19E09B-334E-6D3A-05E9-1F1B79EBCE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9339" y="2846544"/>
            <a:ext cx="8535417" cy="314084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C949F4-17C4-9EBA-B56F-36EBDD5436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24888E-A758-DA30-0682-5CAD01DB95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2</a:t>
            </a:fld>
            <a:endParaRPr lang="en-GB" noProof="0">
              <a:solidFill>
                <a:srgbClr val="626469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9E19C1-CA07-47CF-39B2-AFD68472DDD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11984165">
            <a:off x="-2256963" y="2306669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C49E47-118D-0899-569A-21AC0D30C47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14684165">
            <a:off x="-1249410" y="1038597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BF9D2C-B8A5-51FE-484E-BA52F739160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17384165">
            <a:off x="300105" y="1077586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8E5F36-375A-BFA7-53D5-505FDE31007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20984165">
            <a:off x="1868791" y="1619699"/>
            <a:ext cx="1464543" cy="283187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1C978D9-8B77-1B02-F74D-A56EE3CB4982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2084165">
            <a:off x="874583" y="3838294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0B1B6A-ED85-982D-4906-896924FBE5D4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5684165">
            <a:off x="-523160" y="4538765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4194D71-0ABD-1DA6-3C25-6B74E952DA3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9284165">
            <a:off x="-1926651" y="3888733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027BF9-F6C5-574A-9351-8392C1D337EF}"/>
              </a:ext>
            </a:extLst>
          </p:cNvPr>
          <p:cNvSpPr txBox="1"/>
          <p:nvPr/>
        </p:nvSpPr>
        <p:spPr>
          <a:xfrm>
            <a:off x="1799430" y="224969"/>
            <a:ext cx="2923295" cy="7614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Introduction</a:t>
            </a:r>
            <a:r>
              <a:rPr lang="en-IN" sz="32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  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17F369-78B3-7922-DA6D-FA2F12B31EAE}"/>
              </a:ext>
            </a:extLst>
          </p:cNvPr>
          <p:cNvSpPr txBox="1"/>
          <p:nvPr/>
        </p:nvSpPr>
        <p:spPr>
          <a:xfrm>
            <a:off x="4376057" y="2878852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IN" sz="140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72D8C3-EAD9-8738-493C-E8D64C7BCA5A}"/>
              </a:ext>
            </a:extLst>
          </p:cNvPr>
          <p:cNvSpPr txBox="1"/>
          <p:nvPr/>
        </p:nvSpPr>
        <p:spPr>
          <a:xfrm>
            <a:off x="3796186" y="1511879"/>
            <a:ext cx="7454370" cy="4278682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cs typeface="Arial"/>
              </a:rPr>
              <a:t>What is sustainability</a:t>
            </a:r>
          </a:p>
          <a:p>
            <a:pPr>
              <a:spcBef>
                <a:spcPts val="600"/>
              </a:spcBef>
            </a:pPr>
            <a:endParaRPr lang="en-IN" sz="1400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  <a:ea typeface="+mn-lt"/>
              <a:cs typeface="+mn-lt"/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Balancing Act:</a:t>
            </a:r>
            <a:endParaRPr lang="en-IN" sz="1400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  <a:cs typeface="Arial"/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Sustainability maintains the delicate balance in Earth's ecosystems.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pPr>
              <a:buFont typeface="Arial" panose="020B0604020202020204" pitchFamily="34" charset="0"/>
              <a:buChar char="•"/>
            </a:pP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Wise Resource Use: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Essential for utilizing resources judiciously to ensure their longevity.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pPr>
              <a:buFont typeface="Arial" panose="020B0604020202020204" pitchFamily="34" charset="0"/>
              <a:buChar char="•"/>
            </a:pP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Guardianship Role: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Treats Earth as a friend, ensuring its well-being for current and future generations.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pPr>
              <a:buFont typeface="Arial" panose="020B0604020202020204" pitchFamily="34" charset="0"/>
              <a:buChar char="•"/>
            </a:pP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Environmental Harmony: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  <a:p>
            <a:pPr>
              <a:spcBef>
                <a:spcPts val="600"/>
              </a:spcBef>
            </a:pPr>
            <a:r>
              <a:rPr lang="en-IN" sz="14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lgGrid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  <a:ea typeface="+mn-lt"/>
                <a:cs typeface="+mn-lt"/>
              </a:rPr>
              <a:t>Reflects a commitment to keeping the world healthy, harmonious, and aesthetically pleasing.</a:t>
            </a:r>
            <a:endParaRPr lang="en-IN" b="1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lgGrid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pic>
        <p:nvPicPr>
          <p:cNvPr id="17" name="Picture 16" descr="Good Boy Doggo">
            <a:extLst>
              <a:ext uri="{FF2B5EF4-FFF2-40B4-BE49-F238E27FC236}">
                <a16:creationId xmlns:a16="http://schemas.microsoft.com/office/drawing/2014/main" id="{ED4C2C74-FCD7-D044-514C-909D60C8232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7630" y="5450049"/>
            <a:ext cx="1522926" cy="1522926"/>
          </a:xfrm>
          <a:prstGeom prst="rect">
            <a:avLst/>
          </a:prstGeom>
          <a:noFill/>
          <a:effectLst>
            <a:innerShdw blurRad="63500" dist="50800">
              <a:prstClr val="black">
                <a:alpha val="50000"/>
              </a:prstClr>
            </a:innerShdw>
          </a:effectLst>
        </p:spPr>
      </p:pic>
    </p:spTree>
    <p:extLst>
      <p:ext uri="{BB962C8B-B14F-4D97-AF65-F5344CB8AC3E}">
        <p14:creationId xmlns:p14="http://schemas.microsoft.com/office/powerpoint/2010/main" val="36549708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7000"/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489CE-C5C5-1653-B79D-7B7CA0631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09D31-D684-F9ED-B771-0FE4FA679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1FA79E-61EA-0991-7E58-41C87EF571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3</a:t>
            </a:fld>
            <a:endParaRPr lang="en-GB" noProof="0">
              <a:solidFill>
                <a:srgbClr val="626469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0B352B-BCF7-4D16-2F59-5679E0FAF7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21329024">
            <a:off x="1592923" y="1777228"/>
            <a:ext cx="1633384" cy="2992332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819E7D3-8390-1C0E-2800-BB20E3353D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2429024">
            <a:off x="693435" y="4071005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2AC37D0-C61B-E8BE-1E1D-9006283B9FF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5129024">
            <a:off x="-804154" y="4698701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A3FF4F9-6725-1B77-3BAD-348F6268C7F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8729024">
            <a:off x="-2110758" y="3936905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19F47F-C377-02C7-3970-1D1BF2C906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11429024">
            <a:off x="-2421114" y="2351501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D9FD52D-38D7-0D75-46B3-93858C7A415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15029024">
            <a:off x="-1450407" y="1192806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6BEEE33-7AC3-4F23-EE63-5A12DF03178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18629024">
            <a:off x="12125" y="1220161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07E6FBE-0331-E474-0803-BEFCD4562E07}"/>
              </a:ext>
            </a:extLst>
          </p:cNvPr>
          <p:cNvSpPr txBox="1"/>
          <p:nvPr/>
        </p:nvSpPr>
        <p:spPr>
          <a:xfrm>
            <a:off x="2306655" y="275427"/>
            <a:ext cx="378934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 dirty="0">
                <a:ln w="6600">
                  <a:solidFill>
                    <a:srgbClr val="73DC78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About  Application </a:t>
            </a:r>
            <a:endParaRPr lang="en-IN" sz="3200" b="1" dirty="0">
              <a:ln w="12700">
                <a:solidFill>
                  <a:srgbClr val="00004B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rgbClr val="00004B"/>
                </a:outerShdw>
              </a:effectLst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20C162-2C6D-E7CA-D8D2-D472C4BEEA06}"/>
              </a:ext>
            </a:extLst>
          </p:cNvPr>
          <p:cNvSpPr txBox="1"/>
          <p:nvPr/>
        </p:nvSpPr>
        <p:spPr>
          <a:xfrm>
            <a:off x="4381630" y="1753178"/>
            <a:ext cx="6006248" cy="44319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Green Gaming Adventure:</a:t>
            </a:r>
            <a:endParaRPr lang="en-US">
              <a:solidFill>
                <a:srgbClr val="00004B"/>
              </a:solidFill>
              <a:cs typeface="Arial"/>
            </a:endParaRPr>
          </a:p>
          <a:p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Green Harvest turns sustainability into a fun game for an eco-adventure.</a:t>
            </a: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Learn and Play:</a:t>
            </a:r>
            <a:endParaRPr lang="en-US" sz="2400">
              <a:solidFill>
                <a:srgbClr val="00004B"/>
              </a:solidFill>
            </a:endParaRPr>
          </a:p>
          <a:p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Test your eco-wisdom in an interactive way with friendly hints for guidance.</a:t>
            </a: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Your Pocket Green Guide:</a:t>
            </a:r>
            <a:endParaRPr lang="en-US" sz="2400">
              <a:solidFill>
                <a:srgbClr val="00004B"/>
              </a:solidFill>
            </a:endParaRPr>
          </a:p>
          <a:p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The app helps you adopt green habits, making sustainability easy.</a:t>
            </a: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2400">
              <a:solidFill>
                <a:srgbClr val="00004B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Become an Eco-Champion:</a:t>
            </a:r>
          </a:p>
          <a:p>
            <a:r>
              <a:rPr lang="en-US">
                <a:solidFill>
                  <a:srgbClr val="00004B"/>
                </a:solidFill>
                <a:ea typeface="+mn-lt"/>
                <a:cs typeface="+mn-lt"/>
              </a:rPr>
              <a:t>Unleash your inner environmental champion while having fun and learning for a brighter future!</a:t>
            </a:r>
            <a:endParaRPr lang="en-US" sz="2400">
              <a:solidFill>
                <a:srgbClr val="0000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800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1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7E2E416-F871-952C-AE00-6296A0160A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49A4B12-8275-8C37-92F2-27B19EDF77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A7A594-664F-B18A-9946-EF726C6F3C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4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9C9D79E-8446-4C18-FF99-EFD810CA76FA}"/>
              </a:ext>
            </a:extLst>
          </p:cNvPr>
          <p:cNvSpPr txBox="1"/>
          <p:nvPr/>
        </p:nvSpPr>
        <p:spPr>
          <a:xfrm>
            <a:off x="2306655" y="275427"/>
            <a:ext cx="576038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Importance of Quiz</a:t>
            </a:r>
            <a:endParaRPr lang="en-IN" sz="3200" b="1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660A99-FD39-75BC-53A4-A2B3DD8A2AA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8861700">
            <a:off x="-1939025" y="3865075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EBEA07-E902-32B2-1382-327C88D2804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11561700">
            <a:off x="-2325366" y="2316333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8BF8B7A-343B-1722-42E0-BE5C82A9516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14261700">
            <a:off x="-1360600" y="1091509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5FB41E-D5FB-44F9-AEF9-569AAB849D1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17861700">
            <a:off x="210249" y="1080049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9159C3-67C4-EE61-9AFF-2F11A501D7B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20561700">
            <a:off x="1704142" y="1809620"/>
            <a:ext cx="1476461" cy="2784136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E5A402E-46A0-7D37-B9DA-33D6EE8E379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2561700">
            <a:off x="869898" y="3879098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A6182A1-6D07-C95A-75F9-0AF7FFF335E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6161700">
            <a:off x="-519835" y="4550424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C54CF6E-A339-6787-61F1-3165C062A869}"/>
              </a:ext>
            </a:extLst>
          </p:cNvPr>
          <p:cNvSpPr txBox="1"/>
          <p:nvPr/>
        </p:nvSpPr>
        <p:spPr>
          <a:xfrm>
            <a:off x="3483225" y="1092205"/>
            <a:ext cx="8261735" cy="54322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Unlocking Sustainable Wisdom:</a:t>
            </a:r>
            <a:endParaRPr lang="en-US" sz="1600" b="1" dirty="0">
              <a:ln/>
              <a:solidFill>
                <a:schemeClr val="accent4"/>
              </a:solidFill>
              <a:cs typeface="Arial"/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"Unlock the importance of </a:t>
            </a:r>
            <a:r>
              <a:rPr lang="en-US" sz="1600" b="1" dirty="0" err="1">
                <a:ln/>
                <a:solidFill>
                  <a:schemeClr val="accent4"/>
                </a:solidFill>
                <a:ea typeface="+mn-lt"/>
                <a:cs typeface="+mn-lt"/>
              </a:rPr>
              <a:t>GreenHarvest</a:t>
            </a:r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 quiz" signifies delving into the significance of sustainable living.</a:t>
            </a:r>
          </a:p>
          <a:p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 err="1">
                <a:ln/>
                <a:solidFill>
                  <a:schemeClr val="accent4"/>
                </a:solidFill>
                <a:ea typeface="+mn-lt"/>
                <a:cs typeface="+mn-lt"/>
              </a:rPr>
              <a:t>Cultivatin</a:t>
            </a:r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 Eco-Awareness:</a:t>
            </a:r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Each quiz stage cultivates a garden of sustainable wisdom, guiding users from land preparation to harvesting.</a:t>
            </a:r>
          </a:p>
          <a:p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Beyond a Score:</a:t>
            </a:r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In </a:t>
            </a:r>
            <a:r>
              <a:rPr lang="en-US" sz="1600" b="1" dirty="0" err="1">
                <a:ln/>
                <a:solidFill>
                  <a:schemeClr val="accent4"/>
                </a:solidFill>
                <a:ea typeface="+mn-lt"/>
                <a:cs typeface="+mn-lt"/>
              </a:rPr>
              <a:t>GreenHarvest</a:t>
            </a:r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, learning sustainability transcends a mere score; it's a journey of sowing seeds for a greener, brighter future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Three Levels of Progress:</a:t>
            </a:r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The game offers three progressive levels, increasing the challenge as we answer each question, ensuring a comprehensive exploration of eco-conscious topics.</a:t>
            </a:r>
          </a:p>
          <a:p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Results for Impact:</a:t>
            </a:r>
            <a:endParaRPr lang="en-US" sz="2000" b="1" dirty="0">
              <a:ln/>
              <a:solidFill>
                <a:schemeClr val="accent4"/>
              </a:solidFill>
            </a:endParaRPr>
          </a:p>
          <a:p>
            <a:r>
              <a:rPr lang="en-US" sz="1600" b="1" dirty="0">
                <a:ln/>
                <a:solidFill>
                  <a:schemeClr val="accent4"/>
                </a:solidFill>
                <a:ea typeface="+mn-lt"/>
                <a:cs typeface="+mn-lt"/>
              </a:rPr>
              <a:t>Users receive results, not just scores, reflecting the impact of their newfound eco-awareness and knowledge.</a:t>
            </a:r>
            <a:endParaRPr lang="en-US" sz="2000" b="1" dirty="0">
              <a:ln/>
              <a:solidFill>
                <a:schemeClr val="accent4"/>
              </a:solidFill>
            </a:endParaRPr>
          </a:p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US" sz="1600" b="1" dirty="0">
              <a:ln/>
              <a:solidFill>
                <a:schemeClr val="accent4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9707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5000"/>
                    </a14:imgEffect>
                    <a14:imgEffect>
                      <a14:brightnessContrast bright="-9000" contrast="7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58916D-3378-9621-2F11-AFC0F425D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7CA7468-8B93-4664-E316-52D837ED3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A5399C-4F54-A37D-FA4B-61B44267C0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5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CBB08B2-A113-ED81-38C0-C8B3F09D15A8}"/>
              </a:ext>
            </a:extLst>
          </p:cNvPr>
          <p:cNvSpPr txBox="1"/>
          <p:nvPr/>
        </p:nvSpPr>
        <p:spPr>
          <a:xfrm>
            <a:off x="2306655" y="275427"/>
            <a:ext cx="338294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srgbClr val="D62F7D">
                <a:alpha val="50000"/>
              </a:srgb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7030A0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Landing Page</a:t>
            </a:r>
          </a:p>
          <a:p>
            <a:pPr>
              <a:spcBef>
                <a:spcPts val="600"/>
              </a:spcBef>
            </a:pPr>
            <a:r>
              <a:rPr lang="en-IN" sz="3200" b="1" dirty="0">
                <a:ln w="12700">
                  <a:solidFill>
                    <a:schemeClr val="accent1"/>
                  </a:solidFill>
                  <a:prstDash val="solid"/>
                </a:ln>
                <a:solidFill>
                  <a:srgbClr val="7030A0"/>
                </a:solidFill>
                <a:effectLst>
                  <a:outerShdw dist="38100" dir="2640000" algn="bl" rotWithShape="0">
                    <a:schemeClr val="accent1"/>
                  </a:outerShdw>
                </a:effectLst>
              </a:rPr>
              <a:t> 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3A8D66-F7E5-638A-D40C-71BA1D25191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18346493">
            <a:off x="250408" y="1353553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C9E8AF-9EB6-D136-83DA-F9F168B7934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21046493">
            <a:off x="1759678" y="2156825"/>
            <a:ext cx="1457638" cy="2736543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054596E-CF36-ED8B-3B31-962A835CA8B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2146493">
            <a:off x="731368" y="4196475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31F50A-CB52-047E-F26E-A8D5040C31D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5746493">
            <a:off x="-657318" y="4719611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67ED67C-7EF2-CB7E-F3A0-44856DBDA22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8446493">
            <a:off x="-2073058" y="3922818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D112FC9-373A-233C-3585-D36AFB5B9BA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12046493">
            <a:off x="-2353338" y="2431530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0D6B403-641A-D336-A3F0-AF7F3B1DE38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15646493">
            <a:off x="-1399350" y="1299440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BDBAD6-ADE1-4B2A-42FB-A66CCD98D246}"/>
              </a:ext>
            </a:extLst>
          </p:cNvPr>
          <p:cNvSpPr txBox="1"/>
          <p:nvPr/>
        </p:nvSpPr>
        <p:spPr>
          <a:xfrm>
            <a:off x="4002344" y="2538819"/>
            <a:ext cx="6508955" cy="42082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Here firstly is our Intro Page where information and stages are present</a:t>
            </a:r>
          </a:p>
        </p:txBody>
      </p:sp>
    </p:spTree>
    <p:extLst>
      <p:ext uri="{BB962C8B-B14F-4D97-AF65-F5344CB8AC3E}">
        <p14:creationId xmlns:p14="http://schemas.microsoft.com/office/powerpoint/2010/main" val="24084714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6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ement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3EFD6F-64ED-22FD-FFE7-B87AE4C17E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877FB0B-7192-564C-0815-7018246B9E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9B0F84-F1FE-91A8-9335-28E1414BE6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6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FFA6F1-4C52-F0A8-BE4C-C0A80D4DC67E}"/>
              </a:ext>
            </a:extLst>
          </p:cNvPr>
          <p:cNvSpPr txBox="1"/>
          <p:nvPr/>
        </p:nvSpPr>
        <p:spPr>
          <a:xfrm>
            <a:off x="2306655" y="275427"/>
            <a:ext cx="574006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Login and Registration P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2115E1-ABA3-D1AE-D851-FAB4850DF08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5696164">
            <a:off x="-578972" y="4487587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42C589-1455-9F48-9B29-5C6AEC41A57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8396164">
            <a:off x="-2051909" y="3883920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61D237-ED25-1689-D21B-3FB2299832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11096164">
            <a:off x="-2462630" y="2347332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D43BF56-718A-B556-4FBA-91F63750FF1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14696164">
            <a:off x="-1481136" y="1109017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DF2C66-D8B1-F124-34ED-FAA8CF985D8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17396164">
            <a:off x="121982" y="1077293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8C5BAA4-9B0A-E88C-36F3-AA4C4D82E2D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20996164">
            <a:off x="1596045" y="1642631"/>
            <a:ext cx="1536420" cy="274932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A2D64D2-2A02-6693-56D4-59FE91CE4E0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2996164">
            <a:off x="793542" y="3745038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8DC2BB-D885-E625-F6BD-F9AE3BB09C84}"/>
              </a:ext>
            </a:extLst>
          </p:cNvPr>
          <p:cNvSpPr txBox="1"/>
          <p:nvPr/>
        </p:nvSpPr>
        <p:spPr>
          <a:xfrm>
            <a:off x="3958683" y="1940312"/>
            <a:ext cx="6865671" cy="3490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●"/>
            </a:pPr>
            <a:endParaRPr lang="en-IN" sz="14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F37F65-D784-0FB5-85EF-777B0E2679C5}"/>
              </a:ext>
            </a:extLst>
          </p:cNvPr>
          <p:cNvSpPr txBox="1"/>
          <p:nvPr/>
        </p:nvSpPr>
        <p:spPr>
          <a:xfrm>
            <a:off x="3958683" y="4478469"/>
            <a:ext cx="6508955" cy="42082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IN" sz="36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n comes the login page for credentials </a:t>
            </a:r>
          </a:p>
        </p:txBody>
      </p:sp>
    </p:spTree>
    <p:extLst>
      <p:ext uri="{BB962C8B-B14F-4D97-AF65-F5344CB8AC3E}">
        <p14:creationId xmlns:p14="http://schemas.microsoft.com/office/powerpoint/2010/main" val="3171028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4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5EA08FA-56FC-3CBD-19E3-A85F962B1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AC8562-1E50-586E-D223-357DBCA3A1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25394-EB8E-565A-6201-3F605F1430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7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82750DB-9018-0401-19FD-4095E2402EE1}"/>
              </a:ext>
            </a:extLst>
          </p:cNvPr>
          <p:cNvSpPr txBox="1"/>
          <p:nvPr/>
        </p:nvSpPr>
        <p:spPr>
          <a:xfrm>
            <a:off x="3105360" y="337836"/>
            <a:ext cx="292329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Stages of Quiz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A434E5-EC14-C676-3C3A-1E76740CD2C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15091960">
            <a:off x="-1294601" y="1272602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7D0216-1A10-E5F7-77CB-E18A1C62C9E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17791960">
            <a:off x="348955" y="1269272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5C76F05-C11E-8044-9F4C-01BF42D71C6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20491960">
            <a:off x="1782497" y="2031669"/>
            <a:ext cx="1500666" cy="260887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543398-6370-E671-B72C-1A17D601A7C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2491960">
            <a:off x="921415" y="3994353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F7797E-AD62-A0D6-6AA9-E7CA38590F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5191960">
            <a:off x="-559062" y="4668870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6A2A81D-7FDE-C0A3-F31E-DB2CDBE5B85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8791960">
            <a:off x="-1959304" y="4024205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6FD03A2-E34E-BF13-842D-DDB6DCDB1BD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12391960">
            <a:off x="-2335700" y="2551972"/>
            <a:ext cx="1153171" cy="1915623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pic>
        <p:nvPicPr>
          <p:cNvPr id="4" name="Picture 3" descr="A person digging in a field&#10;&#10;Description automatically generated">
            <a:extLst>
              <a:ext uri="{FF2B5EF4-FFF2-40B4-BE49-F238E27FC236}">
                <a16:creationId xmlns:a16="http://schemas.microsoft.com/office/drawing/2014/main" id="{0E00BB66-CD45-7BBA-0383-27E3988B069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15385" y="1392475"/>
            <a:ext cx="1523668" cy="14947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6" name="Picture 5" descr="A cartoon of a person planting plants in a field&#10;&#10;Description automatically generated">
            <a:extLst>
              <a:ext uri="{FF2B5EF4-FFF2-40B4-BE49-F238E27FC236}">
                <a16:creationId xmlns:a16="http://schemas.microsoft.com/office/drawing/2014/main" id="{FE7670ED-F1B9-E38D-0AE3-6D2AA74F1CD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24710" y="3607991"/>
            <a:ext cx="1530077" cy="15052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Picture 7" descr="A green tractor in a field&#10;&#10;Description automatically generated">
            <a:extLst>
              <a:ext uri="{FF2B5EF4-FFF2-40B4-BE49-F238E27FC236}">
                <a16:creationId xmlns:a16="http://schemas.microsoft.com/office/drawing/2014/main" id="{1D087FED-1AC3-E0A6-F254-10B96D35A86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88919" y="1230928"/>
            <a:ext cx="1832957" cy="167222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2BC7F2A-69DF-4FD7-DA0D-CE4945BEC52C}"/>
              </a:ext>
            </a:extLst>
          </p:cNvPr>
          <p:cNvSpPr txBox="1"/>
          <p:nvPr/>
        </p:nvSpPr>
        <p:spPr>
          <a:xfrm>
            <a:off x="3774833" y="3743597"/>
            <a:ext cx="1792459" cy="13696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pPr algn="ctr">
              <a:spcBef>
                <a:spcPts val="600"/>
              </a:spcBef>
            </a:pPr>
            <a:r>
              <a:rPr lang="en-US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  <a:cs typeface="Arial"/>
              </a:rPr>
              <a:t>Level1 </a:t>
            </a:r>
            <a:endParaRPr lang="en-US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  <a:p>
            <a:pPr algn="ctr">
              <a:spcBef>
                <a:spcPts val="600"/>
              </a:spcBef>
            </a:pPr>
            <a:r>
              <a:rPr lang="en-US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  <a:ea typeface="+mn-lt"/>
                <a:cs typeface="+mn-lt"/>
              </a:rPr>
              <a:t>Cultivate Knowledge, Plant Seeds of Sustainability, and Watch Your Eco-IQ Blossom!</a:t>
            </a:r>
            <a:endParaRPr lang="en-US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  <a:ea typeface="+mn-lt"/>
              <a:cs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408A92-5D97-E575-4938-9AB43B423F43}"/>
              </a:ext>
            </a:extLst>
          </p:cNvPr>
          <p:cNvSpPr txBox="1"/>
          <p:nvPr/>
        </p:nvSpPr>
        <p:spPr>
          <a:xfrm>
            <a:off x="6096001" y="1750282"/>
            <a:ext cx="2438278" cy="18774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  <a:cs typeface="Arial"/>
              </a:rPr>
              <a:t>Level 2</a:t>
            </a:r>
          </a:p>
          <a:p>
            <a:pPr algn="ctr">
              <a:spcBef>
                <a:spcPts val="600"/>
              </a:spcBef>
            </a:pPr>
            <a:r>
              <a:rPr lang="en-US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  <a:ea typeface="+mn-lt"/>
                <a:cs typeface="+mn-lt"/>
              </a:rPr>
              <a:t>Planting &amp; Monitoring – where you nurture your green expertise, sow seeds of environmental wisdom, and watch your sustainable know-how sprout to life!</a:t>
            </a:r>
            <a:endParaRPr lang="en-US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  <a:p>
            <a:pPr algn="ctr">
              <a:spcBef>
                <a:spcPts val="600"/>
              </a:spcBef>
            </a:pPr>
            <a:endParaRPr lang="en-US" sz="1400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D18D63-F969-68CE-CBDB-C8669589F244}"/>
              </a:ext>
            </a:extLst>
          </p:cNvPr>
          <p:cNvSpPr txBox="1"/>
          <p:nvPr/>
        </p:nvSpPr>
        <p:spPr>
          <a:xfrm>
            <a:off x="9300561" y="3788171"/>
            <a:ext cx="2009671" cy="167222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IN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Level 3</a:t>
            </a:r>
          </a:p>
          <a:p>
            <a:pPr algn="ctr">
              <a:spcBef>
                <a:spcPts val="600"/>
              </a:spcBef>
            </a:pPr>
            <a:r>
              <a:rPr lang="en-IN" sz="1400" dirty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  <a:ea typeface="+mn-lt"/>
                <a:cs typeface="+mn-lt"/>
              </a:rPr>
              <a:t>Cultivate Knowledge, Plant Seeds of Sustainability, and Watch Your Eco-IQ Blossom!</a:t>
            </a:r>
            <a:endParaRPr lang="en-IN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  <a:p>
            <a:pPr algn="ctr">
              <a:spcBef>
                <a:spcPts val="600"/>
              </a:spcBef>
            </a:pPr>
            <a:endParaRPr lang="en-IN" sz="1400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3700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1000"/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68D0B6-2FFD-B49D-4C76-1F49F1B5D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DA0CE3-3EA4-24BC-E5B3-33B76F08E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EB812-060A-E350-FA6E-F5BA2C2435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8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B09F34-259C-1908-95BC-857A6D6601EE}"/>
              </a:ext>
            </a:extLst>
          </p:cNvPr>
          <p:cNvSpPr txBox="1"/>
          <p:nvPr/>
        </p:nvSpPr>
        <p:spPr>
          <a:xfrm>
            <a:off x="2306655" y="275427"/>
            <a:ext cx="2923295" cy="761432"/>
          </a:xfrm>
          <a:prstGeom prst="rect">
            <a:avLst/>
          </a:prstGeom>
          <a:effectLst>
            <a:glow rad="127000">
              <a:srgbClr val="00004B"/>
            </a:glow>
            <a:innerShdw blurRad="63500" dist="508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32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00004B"/>
                </a:solidFill>
                <a:effectLst>
                  <a:outerShdw dist="38100" dir="2700000" algn="tl" rotWithShape="0">
                    <a:srgbClr val="00004B"/>
                  </a:outerShdw>
                </a:effectLst>
              </a:rPr>
              <a:t>Rewards </a:t>
            </a:r>
            <a:r>
              <a:rPr lang="en-IN" sz="3200" b="1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 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D17071-AE85-8C48-1A58-D2A960E6058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07" t="609" r="13068" b="-609"/>
          <a:stretch/>
        </p:blipFill>
        <p:spPr>
          <a:xfrm rot="2907918">
            <a:off x="643717" y="3974484"/>
            <a:ext cx="1065804" cy="1952535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78C5AF-B251-EC29-B7BC-14263CB931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r="22356"/>
          <a:stretch/>
        </p:blipFill>
        <p:spPr>
          <a:xfrm rot="5607918">
            <a:off x="-815156" y="4649404"/>
            <a:ext cx="1019527" cy="1914041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9B963C-2D36-0ADA-9D24-87EE37CBD65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r="21489"/>
          <a:stretch/>
        </p:blipFill>
        <p:spPr>
          <a:xfrm rot="8307918">
            <a:off x="-2228042" y="3863736"/>
            <a:ext cx="1094091" cy="1902055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922C80-A854-A781-25D2-29FD054AAC8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1" t="624" r="36357" b="-624"/>
          <a:stretch/>
        </p:blipFill>
        <p:spPr>
          <a:xfrm rot="11907918">
            <a:off x="-2415352" y="2318213"/>
            <a:ext cx="1015457" cy="1963513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AB6657-667E-6D02-9385-E9EB3EE2184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79" r="24434"/>
          <a:stretch/>
        </p:blipFill>
        <p:spPr>
          <a:xfrm rot="14607918">
            <a:off x="-1339415" y="1126138"/>
            <a:ext cx="1039092" cy="195939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DFCF314-01C8-DF5B-57AC-60FC614BB7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" r="27416"/>
          <a:stretch/>
        </p:blipFill>
        <p:spPr>
          <a:xfrm rot="18207918">
            <a:off x="184909" y="1224662"/>
            <a:ext cx="1066669" cy="1908737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E9AB959-9CF7-83FD-1AFB-46400FFF2A9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r="36858"/>
          <a:stretch/>
        </p:blipFill>
        <p:spPr>
          <a:xfrm rot="207918">
            <a:off x="1605376" y="1811523"/>
            <a:ext cx="1676928" cy="2785677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7DCD35-3E0B-90F9-A5F0-421CE8B2271E}"/>
              </a:ext>
            </a:extLst>
          </p:cNvPr>
          <p:cNvSpPr txBox="1"/>
          <p:nvPr/>
        </p:nvSpPr>
        <p:spPr>
          <a:xfrm>
            <a:off x="4742822" y="1763389"/>
            <a:ext cx="5576835" cy="3190448"/>
          </a:xfrm>
          <a:prstGeom prst="rect">
            <a:avLst/>
          </a:prstGeom>
        </p:spPr>
        <p:txBody>
          <a:bodyPr vert="horz" wrap="square" lIns="0" tIns="0" rIns="0" bIns="0" rtlCol="0">
            <a:no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l">
              <a:spcBef>
                <a:spcPts val="600"/>
              </a:spcBef>
            </a:pPr>
            <a:r>
              <a:rPr lang="en-IN" sz="4000" b="1" dirty="0">
                <a:ln>
                  <a:solidFill>
                    <a:srgbClr val="00004B"/>
                  </a:solidFill>
                </a:ln>
                <a:solidFill>
                  <a:schemeClr val="accent4"/>
                </a:solidFill>
              </a:rPr>
              <a:t>After the game, the user can redeem the points to avail discounts at seeds.</a:t>
            </a:r>
          </a:p>
        </p:txBody>
      </p:sp>
    </p:spTree>
    <p:extLst>
      <p:ext uri="{BB962C8B-B14F-4D97-AF65-F5344CB8AC3E}">
        <p14:creationId xmlns:p14="http://schemas.microsoft.com/office/powerpoint/2010/main" val="4255051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4000"/>
            <a:lum/>
          </a:blip>
          <a:srcRect/>
          <a:stretch>
            <a:fillRect t="-3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D9DF54-69BF-1AE7-2ABD-CA97B000C4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557FCE-876C-BD3D-77C4-55EBBE7F7B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9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A93E3DFB-E740-6002-3E83-E3EA11295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0879" y="2765473"/>
            <a:ext cx="3642949" cy="472441"/>
          </a:xfrm>
        </p:spPr>
        <p:txBody>
          <a:bodyPr/>
          <a:lstStyle/>
          <a:p>
            <a:r>
              <a:rPr lang="en-US" sz="4000"/>
              <a:t>Thank You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0222FC6-42C3-2CD8-A58B-34C8893CD1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5" r="20605"/>
          <a:stretch/>
        </p:blipFill>
        <p:spPr>
          <a:xfrm rot="10990208">
            <a:off x="-12167412" y="2445744"/>
            <a:ext cx="1310608" cy="2338937"/>
          </a:xfrm>
          <a:custGeom>
            <a:avLst/>
            <a:gdLst>
              <a:gd name="connsiteX0" fmla="*/ 712021 w 1042829"/>
              <a:gd name="connsiteY0" fmla="*/ 0 h 1861053"/>
              <a:gd name="connsiteX1" fmla="*/ 921710 w 1042829"/>
              <a:gd name="connsiteY1" fmla="*/ 1861053 h 1861053"/>
              <a:gd name="connsiteX2" fmla="*/ 127575 w 1042829"/>
              <a:gd name="connsiteY2" fmla="*/ 1583173 h 1861053"/>
              <a:gd name="connsiteX3" fmla="*/ 148438 w 1042829"/>
              <a:gd name="connsiteY3" fmla="*/ 1523527 h 1861053"/>
              <a:gd name="connsiteX4" fmla="*/ 51921 w 1042829"/>
              <a:gd name="connsiteY4" fmla="*/ 535255 h 1861053"/>
              <a:gd name="connsiteX5" fmla="*/ 0 w 1042829"/>
              <a:gd name="connsiteY5" fmla="*/ 447392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712021" y="0"/>
                </a:moveTo>
                <a:cubicBezTo>
                  <a:pt x="1061458" y="556127"/>
                  <a:pt x="1138637" y="1241112"/>
                  <a:pt x="921710" y="1861053"/>
                </a:cubicBezTo>
                <a:lnTo>
                  <a:pt x="127575" y="1583173"/>
                </a:lnTo>
                <a:lnTo>
                  <a:pt x="148438" y="1523527"/>
                </a:lnTo>
                <a:cubicBezTo>
                  <a:pt x="244955" y="1197434"/>
                  <a:pt x="212783" y="841358"/>
                  <a:pt x="51921" y="535255"/>
                </a:cubicBezTo>
                <a:lnTo>
                  <a:pt x="0" y="447392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312C98A-9B5C-B7EC-A800-3DC428B19F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0" r="20430"/>
          <a:stretch/>
        </p:blipFill>
        <p:spPr>
          <a:xfrm rot="13690208">
            <a:off x="-11409752" y="634755"/>
            <a:ext cx="1221288" cy="2353676"/>
          </a:xfrm>
          <a:custGeom>
            <a:avLst/>
            <a:gdLst>
              <a:gd name="connsiteX0" fmla="*/ 758051 w 971758"/>
              <a:gd name="connsiteY0" fmla="*/ 0 h 1872780"/>
              <a:gd name="connsiteX1" fmla="*/ 758028 w 971758"/>
              <a:gd name="connsiteY1" fmla="*/ 1872780 h 1872780"/>
              <a:gd name="connsiteX2" fmla="*/ 0 w 971758"/>
              <a:gd name="connsiteY2" fmla="*/ 1507732 h 1872780"/>
              <a:gd name="connsiteX3" fmla="*/ 28082 w 971758"/>
              <a:gd name="connsiteY3" fmla="*/ 1449437 h 1872780"/>
              <a:gd name="connsiteX4" fmla="*/ 131666 w 971758"/>
              <a:gd name="connsiteY4" fmla="*/ 936366 h 1872780"/>
              <a:gd name="connsiteX5" fmla="*/ 28082 w 971758"/>
              <a:gd name="connsiteY5" fmla="*/ 423294 h 1872780"/>
              <a:gd name="connsiteX6" fmla="*/ 14 w 971758"/>
              <a:gd name="connsiteY6" fmla="*/ 365029 h 187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71758" h="1872780">
                <a:moveTo>
                  <a:pt x="758051" y="0"/>
                </a:moveTo>
                <a:cubicBezTo>
                  <a:pt x="1043002" y="591745"/>
                  <a:pt x="1042994" y="1281042"/>
                  <a:pt x="758028" y="1872780"/>
                </a:cubicBezTo>
                <a:lnTo>
                  <a:pt x="0" y="1507732"/>
                </a:lnTo>
                <a:lnTo>
                  <a:pt x="28082" y="1449437"/>
                </a:lnTo>
                <a:cubicBezTo>
                  <a:pt x="94782" y="1291739"/>
                  <a:pt x="131666" y="1118360"/>
                  <a:pt x="131666" y="936366"/>
                </a:cubicBezTo>
                <a:cubicBezTo>
                  <a:pt x="131666" y="754371"/>
                  <a:pt x="94782" y="580992"/>
                  <a:pt x="28082" y="423294"/>
                </a:cubicBezTo>
                <a:lnTo>
                  <a:pt x="14" y="365029"/>
                </a:lnTo>
                <a:close/>
              </a:path>
            </a:pathLst>
          </a:cu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2A0CD1C-B7CA-05AF-6355-AD215FAE69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3" r="21983"/>
          <a:stretch/>
        </p:blipFill>
        <p:spPr>
          <a:xfrm rot="16390208">
            <a:off x="-9572203" y="136535"/>
            <a:ext cx="1310608" cy="2338937"/>
          </a:xfrm>
          <a:custGeom>
            <a:avLst/>
            <a:gdLst>
              <a:gd name="connsiteX0" fmla="*/ 921710 w 1042829"/>
              <a:gd name="connsiteY0" fmla="*/ 0 h 1861053"/>
              <a:gd name="connsiteX1" fmla="*/ 712020 w 1042829"/>
              <a:gd name="connsiteY1" fmla="*/ 1861053 h 1861053"/>
              <a:gd name="connsiteX2" fmla="*/ 0 w 1042829"/>
              <a:gd name="connsiteY2" fmla="*/ 1413660 h 1861053"/>
              <a:gd name="connsiteX3" fmla="*/ 51921 w 1042829"/>
              <a:gd name="connsiteY3" fmla="*/ 1325797 h 1861053"/>
              <a:gd name="connsiteX4" fmla="*/ 148438 w 1042829"/>
              <a:gd name="connsiteY4" fmla="*/ 337525 h 1861053"/>
              <a:gd name="connsiteX5" fmla="*/ 127575 w 1042829"/>
              <a:gd name="connsiteY5" fmla="*/ 277879 h 186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29" h="1861053">
                <a:moveTo>
                  <a:pt x="921710" y="0"/>
                </a:moveTo>
                <a:cubicBezTo>
                  <a:pt x="1138637" y="619941"/>
                  <a:pt x="1061458" y="1304927"/>
                  <a:pt x="712020" y="1861053"/>
                </a:cubicBezTo>
                <a:lnTo>
                  <a:pt x="0" y="1413660"/>
                </a:lnTo>
                <a:lnTo>
                  <a:pt x="51921" y="1325797"/>
                </a:lnTo>
                <a:cubicBezTo>
                  <a:pt x="212783" y="1019695"/>
                  <a:pt x="244955" y="663618"/>
                  <a:pt x="148438" y="337525"/>
                </a:cubicBezTo>
                <a:lnTo>
                  <a:pt x="127575" y="277879"/>
                </a:lnTo>
                <a:close/>
              </a:path>
            </a:pathLst>
          </a:custGeom>
        </p:spPr>
      </p:pic>
      <p:pic>
        <p:nvPicPr>
          <p:cNvPr id="38" name="pic">
            <a:extLst>
              <a:ext uri="{FF2B5EF4-FFF2-40B4-BE49-F238E27FC236}">
                <a16:creationId xmlns:a16="http://schemas.microsoft.com/office/drawing/2014/main" id="{3F4469BA-2877-1339-1DC7-BE472250966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7" t="1618" r="23800" b="614"/>
          <a:stretch/>
        </p:blipFill>
        <p:spPr>
          <a:xfrm rot="19990208">
            <a:off x="-8022215" y="1212297"/>
            <a:ext cx="1248697" cy="2352087"/>
          </a:xfrm>
          <a:custGeom>
            <a:avLst/>
            <a:gdLst>
              <a:gd name="connsiteX0" fmla="*/ 743464 w 993567"/>
              <a:gd name="connsiteY0" fmla="*/ 0 h 1871516"/>
              <a:gd name="connsiteX1" fmla="*/ 813491 w 993567"/>
              <a:gd name="connsiteY1" fmla="*/ 1871516 h 1871516"/>
              <a:gd name="connsiteX2" fmla="*/ 42757 w 993567"/>
              <a:gd name="connsiteY2" fmla="*/ 1535249 h 1871516"/>
              <a:gd name="connsiteX3" fmla="*/ 81857 w 993567"/>
              <a:gd name="connsiteY3" fmla="*/ 1437436 h 1871516"/>
              <a:gd name="connsiteX4" fmla="*/ 108559 w 993567"/>
              <a:gd name="connsiteY4" fmla="*/ 667309 h 1871516"/>
              <a:gd name="connsiteX5" fmla="*/ 13937 w 993567"/>
              <a:gd name="connsiteY5" fmla="*/ 417644 h 1871516"/>
              <a:gd name="connsiteX6" fmla="*/ 0 w 993567"/>
              <a:gd name="connsiteY6" fmla="*/ 392931 h 1871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567" h="1871516">
                <a:moveTo>
                  <a:pt x="743464" y="0"/>
                </a:moveTo>
                <a:cubicBezTo>
                  <a:pt x="1050364" y="580685"/>
                  <a:pt x="1076138" y="1269521"/>
                  <a:pt x="813491" y="1871516"/>
                </a:cubicBezTo>
                <a:lnTo>
                  <a:pt x="42757" y="1535249"/>
                </a:lnTo>
                <a:lnTo>
                  <a:pt x="81857" y="1437436"/>
                </a:lnTo>
                <a:cubicBezTo>
                  <a:pt x="164692" y="1197445"/>
                  <a:pt x="179214" y="930999"/>
                  <a:pt x="108559" y="667309"/>
                </a:cubicBezTo>
                <a:cubicBezTo>
                  <a:pt x="85007" y="579413"/>
                  <a:pt x="53105" y="495983"/>
                  <a:pt x="13937" y="417644"/>
                </a:cubicBezTo>
                <a:lnTo>
                  <a:pt x="0" y="392931"/>
                </a:lnTo>
                <a:close/>
              </a:path>
            </a:pathLst>
          </a:custGeom>
        </p:spPr>
      </p:pic>
      <p:pic>
        <p:nvPicPr>
          <p:cNvPr id="39" name="Picture 38" descr="TV gif. SpongeBob sits on the floor in a dark room with his face lit up by a TV screen. He holds a bowl of popcorn in his arms. His eyes are glued to the TV screen, completely captivated by it, as he munches delightfully on the popcorn. ">
            <a:extLst>
              <a:ext uri="{FF2B5EF4-FFF2-40B4-BE49-F238E27FC236}">
                <a16:creationId xmlns:a16="http://schemas.microsoft.com/office/drawing/2014/main" id="{65243165-6713-29C2-C769-128EEAFDE7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51" t="2061" r="22061" b="3625"/>
          <a:stretch/>
        </p:blipFill>
        <p:spPr bwMode="auto">
          <a:xfrm rot="12192313">
            <a:off x="-7865879" y="3145627"/>
            <a:ext cx="1197612" cy="2274709"/>
          </a:xfrm>
          <a:custGeom>
            <a:avLst/>
            <a:gdLst>
              <a:gd name="connsiteX0" fmla="*/ 248974 w 1227379"/>
              <a:gd name="connsiteY0" fmla="*/ 0 h 2331247"/>
              <a:gd name="connsiteX1" fmla="*/ 305602 w 1227379"/>
              <a:gd name="connsiteY1" fmla="*/ 0 h 2331247"/>
              <a:gd name="connsiteX2" fmla="*/ 1213385 w 1227379"/>
              <a:gd name="connsiteY2" fmla="*/ 427027 h 2331247"/>
              <a:gd name="connsiteX3" fmla="*/ 1214763 w 1227379"/>
              <a:gd name="connsiteY3" fmla="*/ 1840351 h 2331247"/>
              <a:gd name="connsiteX4" fmla="*/ 1227379 w 1227379"/>
              <a:gd name="connsiteY4" fmla="*/ 1864058 h 2331247"/>
              <a:gd name="connsiteX5" fmla="*/ 279431 w 1227379"/>
              <a:gd name="connsiteY5" fmla="*/ 2331247 h 2331247"/>
              <a:gd name="connsiteX6" fmla="*/ 143072 w 1227379"/>
              <a:gd name="connsiteY6" fmla="*/ 262824 h 233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7379" h="2331247">
                <a:moveTo>
                  <a:pt x="248974" y="0"/>
                </a:moveTo>
                <a:lnTo>
                  <a:pt x="305602" y="0"/>
                </a:lnTo>
                <a:lnTo>
                  <a:pt x="1213385" y="427027"/>
                </a:lnTo>
                <a:cubicBezTo>
                  <a:pt x="994324" y="892712"/>
                  <a:pt x="1010945" y="1408692"/>
                  <a:pt x="1214763" y="1840351"/>
                </a:cubicBezTo>
                <a:lnTo>
                  <a:pt x="1227379" y="1864058"/>
                </a:lnTo>
                <a:lnTo>
                  <a:pt x="279431" y="2331247"/>
                </a:lnTo>
                <a:cubicBezTo>
                  <a:pt x="-39863" y="1683385"/>
                  <a:pt x="-85815" y="939150"/>
                  <a:pt x="143072" y="26282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075092A-1FBB-E009-8716-CCC8AD8E62B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1" r="22821"/>
          <a:stretch/>
        </p:blipFill>
        <p:spPr>
          <a:xfrm rot="1090208">
            <a:off x="-7935612" y="3147088"/>
            <a:ext cx="1277760" cy="2347157"/>
          </a:xfrm>
          <a:custGeom>
            <a:avLst/>
            <a:gdLst>
              <a:gd name="connsiteX0" fmla="*/ 867499 w 1016692"/>
              <a:gd name="connsiteY0" fmla="*/ 0 h 1867593"/>
              <a:gd name="connsiteX1" fmla="*/ 727543 w 1016692"/>
              <a:gd name="connsiteY1" fmla="*/ 1867593 h 1867593"/>
              <a:gd name="connsiteX2" fmla="*/ 0 w 1016692"/>
              <a:gd name="connsiteY2" fmla="*/ 1447545 h 1867593"/>
              <a:gd name="connsiteX3" fmla="*/ 93154 w 1016692"/>
              <a:gd name="connsiteY3" fmla="*/ 326852 h 1867593"/>
              <a:gd name="connsiteX4" fmla="*/ 84732 w 1016692"/>
              <a:gd name="connsiteY4" fmla="*/ 307214 h 1867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3">
                <a:moveTo>
                  <a:pt x="867499" y="0"/>
                </a:moveTo>
                <a:cubicBezTo>
                  <a:pt x="1107454" y="611396"/>
                  <a:pt x="1055942" y="1298788"/>
                  <a:pt x="727543" y="1867593"/>
                </a:cubicBezTo>
                <a:lnTo>
                  <a:pt x="0" y="1447545"/>
                </a:lnTo>
                <a:cubicBezTo>
                  <a:pt x="204744" y="1092919"/>
                  <a:pt x="225973" y="682699"/>
                  <a:pt x="93154" y="326852"/>
                </a:cubicBezTo>
                <a:lnTo>
                  <a:pt x="84732" y="307214"/>
                </a:lnTo>
                <a:close/>
              </a:path>
            </a:pathLst>
          </a:cu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6242189-D394-0961-4017-7C92C0F4CB2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20" t="646" r="13442" b="-646"/>
          <a:stretch/>
        </p:blipFill>
        <p:spPr>
          <a:xfrm rot="4690208">
            <a:off x="-9331084" y="4396096"/>
            <a:ext cx="1277760" cy="2347154"/>
          </a:xfrm>
          <a:custGeom>
            <a:avLst/>
            <a:gdLst>
              <a:gd name="connsiteX0" fmla="*/ 727543 w 1016692"/>
              <a:gd name="connsiteY0" fmla="*/ 0 h 1867592"/>
              <a:gd name="connsiteX1" fmla="*/ 867499 w 1016692"/>
              <a:gd name="connsiteY1" fmla="*/ 1867592 h 1867592"/>
              <a:gd name="connsiteX2" fmla="*/ 84732 w 1016692"/>
              <a:gd name="connsiteY2" fmla="*/ 1560379 h 1867592"/>
              <a:gd name="connsiteX3" fmla="*/ 93154 w 1016692"/>
              <a:gd name="connsiteY3" fmla="*/ 1540740 h 1867592"/>
              <a:gd name="connsiteX4" fmla="*/ 0 w 1016692"/>
              <a:gd name="connsiteY4" fmla="*/ 420047 h 186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6692" h="1867592">
                <a:moveTo>
                  <a:pt x="727543" y="0"/>
                </a:moveTo>
                <a:cubicBezTo>
                  <a:pt x="1055942" y="568804"/>
                  <a:pt x="1107455" y="1256196"/>
                  <a:pt x="867499" y="1867592"/>
                </a:cubicBezTo>
                <a:lnTo>
                  <a:pt x="84732" y="1560379"/>
                </a:lnTo>
                <a:lnTo>
                  <a:pt x="93154" y="1540740"/>
                </a:lnTo>
                <a:cubicBezTo>
                  <a:pt x="225973" y="1184894"/>
                  <a:pt x="204744" y="774674"/>
                  <a:pt x="0" y="420047"/>
                </a:cubicBez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16A7FE3-0957-79DF-D263-7260A145646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-1367" r="18601" b="1367"/>
          <a:stretch/>
        </p:blipFill>
        <p:spPr>
          <a:xfrm rot="8290208">
            <a:off x="-11221775" y="4151903"/>
            <a:ext cx="1418042" cy="2294720"/>
          </a:xfrm>
          <a:custGeom>
            <a:avLst/>
            <a:gdLst>
              <a:gd name="connsiteX0" fmla="*/ 657439 w 1128312"/>
              <a:gd name="connsiteY0" fmla="*/ 0 h 1825870"/>
              <a:gd name="connsiteX1" fmla="*/ 1074182 w 1128312"/>
              <a:gd name="connsiteY1" fmla="*/ 1825870 h 1825870"/>
              <a:gd name="connsiteX2" fmla="*/ 254353 w 1128312"/>
              <a:gd name="connsiteY2" fmla="*/ 1638750 h 1825870"/>
              <a:gd name="connsiteX3" fmla="*/ 261419 w 1128312"/>
              <a:gd name="connsiteY3" fmla="*/ 1611270 h 1825870"/>
              <a:gd name="connsiteX4" fmla="*/ 288198 w 1128312"/>
              <a:gd name="connsiteY4" fmla="*/ 1345623 h 1825870"/>
              <a:gd name="connsiteX5" fmla="*/ 63084 w 1128312"/>
              <a:gd name="connsiteY5" fmla="*/ 608649 h 1825870"/>
              <a:gd name="connsiteX6" fmla="*/ 0 w 1128312"/>
              <a:gd name="connsiteY6" fmla="*/ 524288 h 182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8312" h="1825870">
                <a:moveTo>
                  <a:pt x="657439" y="0"/>
                </a:moveTo>
                <a:cubicBezTo>
                  <a:pt x="1066946" y="513505"/>
                  <a:pt x="1220333" y="1185541"/>
                  <a:pt x="1074182" y="1825870"/>
                </a:cubicBezTo>
                <a:lnTo>
                  <a:pt x="254353" y="1638750"/>
                </a:lnTo>
                <a:lnTo>
                  <a:pt x="261419" y="1611270"/>
                </a:lnTo>
                <a:cubicBezTo>
                  <a:pt x="278978" y="1525464"/>
                  <a:pt x="288198" y="1436620"/>
                  <a:pt x="288198" y="1345623"/>
                </a:cubicBezTo>
                <a:cubicBezTo>
                  <a:pt x="288198" y="1072631"/>
                  <a:pt x="205209" y="819023"/>
                  <a:pt x="63084" y="608649"/>
                </a:cubicBezTo>
                <a:lnTo>
                  <a:pt x="0" y="52428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52831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form">
  <a:themeElements>
    <a:clrScheme name="Custom 18">
      <a:dk1>
        <a:srgbClr val="000000"/>
      </a:dk1>
      <a:lt1>
        <a:srgbClr val="FFFFFF"/>
      </a:lt1>
      <a:dk2>
        <a:srgbClr val="00004B"/>
      </a:dk2>
      <a:lt2>
        <a:srgbClr val="73DC78"/>
      </a:lt2>
      <a:accent1>
        <a:srgbClr val="00004B"/>
      </a:accent1>
      <a:accent2>
        <a:srgbClr val="73DC78"/>
      </a:accent2>
      <a:accent3>
        <a:srgbClr val="00E6BE"/>
      </a:accent3>
      <a:accent4>
        <a:srgbClr val="FFAA00"/>
      </a:accent4>
      <a:accent5>
        <a:srgbClr val="FF0064"/>
      </a:accent5>
      <a:accent6>
        <a:srgbClr val="999999"/>
      </a:accent6>
      <a:hlink>
        <a:srgbClr val="00004B"/>
      </a:hlink>
      <a:folHlink>
        <a:srgbClr val="73DC78"/>
      </a:folHlink>
    </a:clrScheme>
    <a:fontScheme name="Syngen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marL="228600" indent="-228600" algn="l">
          <a:spcBef>
            <a:spcPts val="600"/>
          </a:spcBef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Dark Blue">
      <a:srgbClr val="23BAB0"/>
    </a:custClr>
    <a:custClr name="Dark Green">
      <a:srgbClr val="57B524"/>
    </a:custClr>
    <a:custClr name="Dark Orange">
      <a:srgbClr val="ED773B"/>
    </a:custClr>
    <a:custClr name="Dark Red">
      <a:srgbClr val="D62F7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Light Blue">
      <a:srgbClr val="9DFCDE"/>
    </a:custClr>
    <a:custClr name="Light Green">
      <a:srgbClr val="7DFA98"/>
    </a:custClr>
    <a:custClr name="Light Orange">
      <a:srgbClr val="FCA2A2"/>
    </a:custClr>
    <a:custClr name="Light Red">
      <a:srgbClr val="FF96C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Syngenta Group Master Template EN_20210430.pptx" id="{08D4730A-12F2-486A-9C5F-247A3490C8D0}" vid="{E4EFFEF8-BF07-4975-BD9B-CAB62FF79E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471AD40207CE46A636C99B5E54DEAF" ma:contentTypeVersion="10" ma:contentTypeDescription="Create a new document." ma:contentTypeScope="" ma:versionID="c5a20dd4a6528689d1698c7a515f0193">
  <xsd:schema xmlns:xsd="http://www.w3.org/2001/XMLSchema" xmlns:xs="http://www.w3.org/2001/XMLSchema" xmlns:p="http://schemas.microsoft.com/office/2006/metadata/properties" xmlns:ns3="f466d9c6-31ef-44df-b612-0af5575bd052" xmlns:ns4="cbdb132f-643b-4728-945b-bac1fb35410b" targetNamespace="http://schemas.microsoft.com/office/2006/metadata/properties" ma:root="true" ma:fieldsID="9f3fa482254c2ec06326079febb1d450" ns3:_="" ns4:_="">
    <xsd:import namespace="f466d9c6-31ef-44df-b612-0af5575bd052"/>
    <xsd:import namespace="cbdb132f-643b-4728-945b-bac1fb35410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6d9c6-31ef-44df-b612-0af5575bd0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db132f-643b-4728-945b-bac1fb35410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bdb132f-643b-4728-945b-bac1fb35410b">
      <UserInfo>
        <DisplayName>Fraga João BRBH</DisplayName>
        <AccountId>337</AccountId>
        <AccountType/>
      </UserInfo>
      <UserInfo>
        <DisplayName>Robles Angel Celia GBJH</DisplayName>
        <AccountId>338</AccountId>
        <AccountType/>
      </UserInfo>
    </SharedWithUsers>
    <_activity xmlns="f466d9c6-31ef-44df-b612-0af5575bd052" xsi:nil="true"/>
  </documentManagement>
</p:properties>
</file>

<file path=customXml/itemProps1.xml><?xml version="1.0" encoding="utf-8"?>
<ds:datastoreItem xmlns:ds="http://schemas.openxmlformats.org/officeDocument/2006/customXml" ds:itemID="{5098080A-974B-4D58-8B09-7B6EF8C02F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914AE9-3709-46CF-B1A3-8F12F98E3126}">
  <ds:schemaRefs>
    <ds:schemaRef ds:uri="cbdb132f-643b-4728-945b-bac1fb35410b"/>
    <ds:schemaRef ds:uri="f466d9c6-31ef-44df-b612-0af5575bd0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DC7DC9A-D2D8-4277-BCC7-BDDC97EEE71D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cbdb132f-643b-4728-945b-bac1fb35410b"/>
    <ds:schemaRef ds:uri="f466d9c6-31ef-44df-b612-0af5575bd052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yngenta-Master_16-9</Template>
  <TotalTime>184</TotalTime>
  <Words>427</Words>
  <Application>Microsoft Office PowerPoint</Application>
  <PresentationFormat>Widescreen</PresentationFormat>
  <Paragraphs>7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Segoe UI</vt:lpstr>
      <vt:lpstr>Wingdings</vt:lpstr>
      <vt:lpstr>1_Infor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Syngen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s David CHBS</dc:creator>
  <cp:lastModifiedBy>Kevin  Jose</cp:lastModifiedBy>
  <cp:revision>3</cp:revision>
  <cp:lastPrinted>2019-02-08T11:18:26Z</cp:lastPrinted>
  <dcterms:created xsi:type="dcterms:W3CDTF">2019-02-08T08:38:08Z</dcterms:created>
  <dcterms:modified xsi:type="dcterms:W3CDTF">2024-02-23T10:3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471AD40207CE46A636C99B5E54DEAF</vt:lpwstr>
  </property>
  <property fmtid="{D5CDD505-2E9C-101B-9397-08002B2CF9AE}" pid="3" name="Order">
    <vt:lpwstr>48900.0000000000</vt:lpwstr>
  </property>
  <property fmtid="{D5CDD505-2E9C-101B-9397-08002B2CF9AE}" pid="4" name="xd_ProgID">
    <vt:lpwstr/>
  </property>
  <property fmtid="{D5CDD505-2E9C-101B-9397-08002B2CF9AE}" pid="5" name="MediaServiceImageTags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337;#Fraga João BRBH;#338;#Robles Angel Celia GBJH</vt:lpwstr>
  </property>
</Properties>
</file>